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heme/theme2.xml" ContentType="application/vnd.openxmlformats-officedocument.theme+xml"/>
  <Override PartName="/ppt/tags/tag6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sldIdLst>
    <p:sldId id="2147474751" r:id="rId5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58" d="100"/>
          <a:sy n="58" d="100"/>
        </p:scale>
        <p:origin x="98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3D90EF-1737-4A88-8213-55F7B56D1F5C}" type="datetimeFigureOut">
              <a:rPr lang="fr-FR" smtClean="0"/>
              <a:t>17/04/2023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24E9CF-1B68-4DC8-94F9-54C5FD946B4E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397066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</a:t>
            </a:fld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868642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1.jp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hyperlink" Target="https://infomineo.com/insights/blog/" TargetMode="External"/><Relationship Id="rId13" Type="http://schemas.openxmlformats.org/officeDocument/2006/relationships/image" Target="../media/image14.emf"/><Relationship Id="rId3" Type="http://schemas.openxmlformats.org/officeDocument/2006/relationships/oleObject" Target="../embeddings/oleObject25.bin"/><Relationship Id="rId7" Type="http://schemas.openxmlformats.org/officeDocument/2006/relationships/image" Target="../media/image6.svg"/><Relationship Id="rId12" Type="http://schemas.openxmlformats.org/officeDocument/2006/relationships/hyperlink" Target="https://www.facebook.com/Infomineo/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6" Type="http://schemas.openxmlformats.org/officeDocument/2006/relationships/image" Target="../media/image5.png"/><Relationship Id="rId11" Type="http://schemas.openxmlformats.org/officeDocument/2006/relationships/image" Target="../media/image13.emf"/><Relationship Id="rId5" Type="http://schemas.openxmlformats.org/officeDocument/2006/relationships/hyperlink" Target="https://infomineo.com/" TargetMode="External"/><Relationship Id="rId10" Type="http://schemas.openxmlformats.org/officeDocument/2006/relationships/hyperlink" Target="https://www.linkedin.com/company-beta/2416143/admin/updates/" TargetMode="External"/><Relationship Id="rId4" Type="http://schemas.openxmlformats.org/officeDocument/2006/relationships/image" Target="../media/image9.emf"/><Relationship Id="rId9" Type="http://schemas.openxmlformats.org/officeDocument/2006/relationships/image" Target="../media/image12.w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4" Type="http://schemas.openxmlformats.org/officeDocument/2006/relationships/image" Target="../media/image10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4" Type="http://schemas.openxmlformats.org/officeDocument/2006/relationships/image" Target="../media/image10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1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4" Type="http://schemas.openxmlformats.org/officeDocument/2006/relationships/image" Target="../media/image10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1393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EC7EB34-6497-4D19-B99E-5F4D7F924E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-4" r="-1" b="-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0270E3B-760C-41F0-B9D6-A2E014047679}"/>
              </a:ext>
            </a:extLst>
          </p:cNvPr>
          <p:cNvSpPr/>
          <p:nvPr userDrawn="1"/>
        </p:nvSpPr>
        <p:spPr>
          <a:xfrm>
            <a:off x="536448" y="0"/>
            <a:ext cx="6363291" cy="147521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45000">
                <a:schemeClr val="tx2">
                  <a:lumMod val="50000"/>
                  <a:alpha val="90000"/>
                </a:schemeClr>
              </a:gs>
              <a:gs pos="100000">
                <a:schemeClr val="tx2">
                  <a:lumMod val="75000"/>
                  <a:alpha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36448" y="1844676"/>
            <a:ext cx="6363291" cy="5013324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6" y="3051297"/>
            <a:ext cx="5478239" cy="1246495"/>
          </a:xfrm>
        </p:spPr>
        <p:txBody>
          <a:bodyPr vert="horz" wrap="square" lIns="0" tIns="0" rIns="0" bIns="0" rtlCol="0" anchor="b">
            <a:spAutoFit/>
          </a:bodyPr>
          <a:lstStyle>
            <a:lvl1pPr rtl="0">
              <a:defRPr lang="en-IN" sz="5000" b="0" cap="none" baseline="0" dirty="0">
                <a:solidFill>
                  <a:schemeClr val="bg1"/>
                </a:solidFill>
                <a:latin typeface="Franklin Gothic Demi" panose="020B07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6" y="4348579"/>
            <a:ext cx="5478239" cy="292388"/>
          </a:xfrm>
        </p:spPr>
        <p:txBody>
          <a:bodyPr vert="horz" wrap="square" lIns="0" tIns="0" rIns="0" bIns="0" rtlCol="0" anchor="t">
            <a:spAutoFit/>
          </a:bodyPr>
          <a:lstStyle>
            <a:lvl1pPr rtl="0">
              <a:defRPr lang="en-IN" sz="2000" cap="none" baseline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0" lvl="0" indent="-228600"/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923689"/>
            <a:ext cx="1582738" cy="1938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rtl="0">
              <a:defRPr lang="en-IN" sz="140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fld id="{BF5158EB-C08E-40B8-8ED0-962C0F6BA21C}" type="datetime4">
              <a:rPr lang="en-US" smtClean="0"/>
              <a:pPr marL="22860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t>April 17, 2023</a:t>
            </a:fld>
            <a:endParaRPr lang="en-US" dirty="0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D71087DA-5BA8-41BD-999A-2C7F15FF360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02896" y="450469"/>
            <a:ext cx="2497452" cy="574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8737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3381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88B1CBF-9B2F-4725-98BB-E3D2571154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 rtl="0"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1A2FF9-94F4-4F68-B7EE-D99445194A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50862" y="6465614"/>
            <a:ext cx="65" cy="138499"/>
          </a:xfrm>
        </p:spPr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4C70F-8641-4AD5-A3F6-0EBA9C54EA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2175803"/>
            <a:ext cx="5400675" cy="1151597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400" dirty="0"/>
            </a:lvl1pPr>
            <a:lvl2pPr rtl="0">
              <a:defRPr lang="en-US" sz="1400" dirty="0"/>
            </a:lvl2pPr>
            <a:lvl3pPr rtl="0">
              <a:defRPr lang="en-US" sz="1400" dirty="0"/>
            </a:lvl3pPr>
            <a:lvl4pPr rtl="0">
              <a:defRPr lang="en-US" sz="1400" dirty="0"/>
            </a:lvl4pPr>
            <a:lvl5pPr rtl="0"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</a:t>
            </a:r>
            <a:r>
              <a:rPr lang="en-US"/>
              <a:t>level 4</a:t>
            </a:r>
            <a:endParaRPr lang="en-US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857375"/>
            <a:ext cx="5400675" cy="263149"/>
          </a:xfrm>
        </p:spPr>
        <p:txBody>
          <a:bodyPr>
            <a:spAutoFit/>
          </a:bodyPr>
          <a:lstStyle>
            <a:lvl1pPr rtl="0">
              <a:defRPr sz="1800" b="1">
                <a:solidFill>
                  <a:schemeClr val="accent1"/>
                </a:solidFill>
                <a:latin typeface="+mn-lt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4" y="2175803"/>
            <a:ext cx="5400675" cy="1151597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400" dirty="0"/>
            </a:lvl1pPr>
            <a:lvl2pPr rtl="0">
              <a:defRPr lang="en-US" sz="1400" dirty="0"/>
            </a:lvl2pPr>
            <a:lvl3pPr rtl="0">
              <a:defRPr lang="en-US" sz="1400" dirty="0"/>
            </a:lvl3pPr>
            <a:lvl4pPr rtl="0">
              <a:defRPr lang="en-US" sz="1400" dirty="0"/>
            </a:lvl4pPr>
            <a:lvl5pPr rtl="0"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</a:t>
            </a:r>
            <a:r>
              <a:rPr lang="en-US"/>
              <a:t>level 4</a:t>
            </a:r>
            <a:endParaRPr lang="en-US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0464" y="1857375"/>
            <a:ext cx="5400675" cy="263149"/>
          </a:xfrm>
        </p:spPr>
        <p:txBody>
          <a:bodyPr>
            <a:spAutoFit/>
          </a:bodyPr>
          <a:lstStyle>
            <a:lvl1pPr rtl="0">
              <a:defRPr sz="1800" b="1">
                <a:solidFill>
                  <a:schemeClr val="accent1"/>
                </a:solidFill>
                <a:latin typeface="+mn-lt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4249938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0913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2476173-BEA2-49BD-B5FE-C9602A2A7D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 rtl="0"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1A2FF9-94F4-4F68-B7EE-D99445194A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50862" y="6465614"/>
            <a:ext cx="65" cy="138499"/>
          </a:xfrm>
        </p:spPr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4C70F-8641-4AD5-A3F6-0EBA9C54EA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4" y="2175803"/>
            <a:ext cx="3506976" cy="1180836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400" dirty="0"/>
            </a:lvl1pPr>
            <a:lvl2pPr rtl="0">
              <a:defRPr lang="en-US" sz="1400" dirty="0"/>
            </a:lvl2pPr>
            <a:lvl3pPr rtl="0">
              <a:defRPr lang="en-US" sz="1400" dirty="0"/>
            </a:lvl3pPr>
            <a:lvl4pPr rtl="0">
              <a:defRPr lang="en-US" sz="1400" dirty="0"/>
            </a:lvl4pPr>
            <a:lvl5pPr rtl="0"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</a:t>
            </a:r>
            <a:r>
              <a:rPr lang="en-US"/>
              <a:t>level 4</a:t>
            </a:r>
            <a:endParaRPr lang="en-US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857375"/>
            <a:ext cx="3506976" cy="263149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35839" y="2175803"/>
            <a:ext cx="3505300" cy="1180836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400" dirty="0"/>
            </a:lvl1pPr>
            <a:lvl2pPr rtl="0">
              <a:defRPr lang="en-US" sz="1400" dirty="0"/>
            </a:lvl2pPr>
            <a:lvl3pPr rtl="0">
              <a:defRPr lang="en-US" sz="1400" dirty="0"/>
            </a:lvl3pPr>
            <a:lvl4pPr rtl="0">
              <a:defRPr lang="en-US" sz="1400" dirty="0"/>
            </a:lvl4pPr>
            <a:lvl5pPr rtl="0"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</a:t>
            </a:r>
            <a:r>
              <a:rPr lang="en-US"/>
              <a:t>level 4</a:t>
            </a:r>
            <a:endParaRPr lang="en-US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35839" y="1857375"/>
            <a:ext cx="3505300" cy="263149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59121794-F5DD-4A31-9CFD-38DDBBCF1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44162" y="2175803"/>
            <a:ext cx="3505300" cy="1180836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400" dirty="0"/>
            </a:lvl1pPr>
            <a:lvl2pPr rtl="0">
              <a:defRPr lang="en-US" sz="1400" dirty="0"/>
            </a:lvl2pPr>
            <a:lvl3pPr rtl="0">
              <a:defRPr lang="en-US" sz="1400" dirty="0"/>
            </a:lvl3pPr>
            <a:lvl4pPr rtl="0">
              <a:defRPr lang="en-US" sz="1400" dirty="0"/>
            </a:lvl4pPr>
            <a:lvl5pPr rtl="0"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</a:t>
            </a:r>
            <a:r>
              <a:rPr lang="en-US"/>
              <a:t>level 4</a:t>
            </a:r>
            <a:endParaRPr lang="en-US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3143DD43-CBE6-4068-87AB-C994C18915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4162" y="1857375"/>
            <a:ext cx="3505300" cy="263149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9298550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6435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314B796-0A71-42E1-B6EB-B6B2B79412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 rtl="0"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1A2FF9-94F4-4F68-B7EE-D99445194A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50862" y="6465614"/>
            <a:ext cx="65" cy="138499"/>
          </a:xfrm>
        </p:spPr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4C70F-8641-4AD5-A3F6-0EBA9C54EA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4" y="2175803"/>
            <a:ext cx="2559476" cy="1180836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400" dirty="0"/>
            </a:lvl1pPr>
            <a:lvl2pPr rtl="0">
              <a:defRPr lang="en-US" sz="1400" dirty="0"/>
            </a:lvl2pPr>
            <a:lvl3pPr rtl="0">
              <a:defRPr lang="en-US" sz="1400" dirty="0"/>
            </a:lvl3pPr>
            <a:lvl4pPr rtl="0">
              <a:defRPr lang="en-US" sz="1400" dirty="0"/>
            </a:lvl4pPr>
            <a:lvl5pPr rtl="0"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</a:t>
            </a:r>
            <a:r>
              <a:rPr lang="en-US"/>
              <a:t>level 4</a:t>
            </a:r>
            <a:endParaRPr lang="en-US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857375"/>
            <a:ext cx="2559476" cy="263149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4" y="2175803"/>
            <a:ext cx="2554875" cy="1180836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400" dirty="0"/>
            </a:lvl1pPr>
            <a:lvl2pPr rtl="0">
              <a:defRPr lang="en-US" sz="1400" dirty="0"/>
            </a:lvl2pPr>
            <a:lvl3pPr rtl="0">
              <a:defRPr lang="en-US" sz="1400" dirty="0"/>
            </a:lvl3pPr>
            <a:lvl4pPr rtl="0">
              <a:defRPr lang="en-US" sz="1400" dirty="0"/>
            </a:lvl4pPr>
            <a:lvl5pPr rtl="0"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</a:t>
            </a:r>
            <a:r>
              <a:rPr lang="en-US"/>
              <a:t>level 4</a:t>
            </a:r>
            <a:endParaRPr lang="en-US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0464" y="1857375"/>
            <a:ext cx="2554875" cy="263149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475C8AB-1FCD-402F-8C3E-9BA6CE42B0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5664" y="2175803"/>
            <a:ext cx="2559476" cy="1180836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400" dirty="0"/>
            </a:lvl1pPr>
            <a:lvl2pPr rtl="0">
              <a:defRPr lang="en-US" sz="1400" dirty="0"/>
            </a:lvl2pPr>
            <a:lvl3pPr rtl="0">
              <a:defRPr lang="en-US" sz="1400" dirty="0"/>
            </a:lvl3pPr>
            <a:lvl4pPr rtl="0">
              <a:defRPr lang="en-US" sz="1400" dirty="0"/>
            </a:lvl4pPr>
            <a:lvl5pPr rtl="0"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</a:t>
            </a:r>
            <a:r>
              <a:rPr lang="en-US"/>
              <a:t>level 4</a:t>
            </a:r>
            <a:endParaRPr lang="en-US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435FA198-8A13-4A8F-B4EE-49845B8E81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5664" y="1857375"/>
            <a:ext cx="2559476" cy="263149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6ACE083-C86D-45ED-8C11-019550696D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86263" y="2175803"/>
            <a:ext cx="2554875" cy="1180836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400" dirty="0"/>
            </a:lvl1pPr>
            <a:lvl2pPr rtl="0">
              <a:defRPr lang="en-US" sz="1400" dirty="0"/>
            </a:lvl2pPr>
            <a:lvl3pPr rtl="0">
              <a:defRPr lang="en-US" sz="1400" dirty="0"/>
            </a:lvl3pPr>
            <a:lvl4pPr rtl="0">
              <a:defRPr lang="en-US" sz="1400" dirty="0"/>
            </a:lvl4pPr>
            <a:lvl5pPr rtl="0"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</a:t>
            </a:r>
            <a:r>
              <a:rPr lang="en-US"/>
              <a:t>level 4</a:t>
            </a:r>
            <a:endParaRPr lang="en-US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29247DB4-9C96-4895-AABD-422C522A97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86263" y="1857375"/>
            <a:ext cx="2554875" cy="263149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297765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6479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F80F200-6A77-426D-879D-7C93BD8B9F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 rtl="0"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1A2FF9-94F4-4F68-B7EE-D99445194A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50862" y="6465614"/>
            <a:ext cx="65" cy="138499"/>
          </a:xfrm>
        </p:spPr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4C70F-8641-4AD5-A3F6-0EBA9C54EA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4" y="2175803"/>
            <a:ext cx="1983600" cy="1180836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400" dirty="0"/>
            </a:lvl1pPr>
            <a:lvl2pPr rtl="0">
              <a:defRPr lang="en-US" sz="1400" dirty="0"/>
            </a:lvl2pPr>
            <a:lvl3pPr rtl="0">
              <a:defRPr lang="en-US" sz="1400" dirty="0"/>
            </a:lvl3pPr>
            <a:lvl4pPr rtl="0">
              <a:defRPr lang="en-US" sz="1400" dirty="0"/>
            </a:lvl4pPr>
            <a:lvl5pPr rtl="0"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</a:t>
            </a:r>
            <a:r>
              <a:rPr lang="en-US"/>
              <a:t>level 4</a:t>
            </a:r>
            <a:endParaRPr lang="en-US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857375"/>
            <a:ext cx="1983600" cy="263149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4050" y="2175803"/>
            <a:ext cx="1980034" cy="1180836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400" dirty="0"/>
            </a:lvl1pPr>
            <a:lvl2pPr rtl="0">
              <a:defRPr lang="en-US" sz="1400" dirty="0"/>
            </a:lvl2pPr>
            <a:lvl3pPr rtl="0">
              <a:defRPr lang="en-US" sz="1400" dirty="0"/>
            </a:lvl3pPr>
            <a:lvl4pPr rtl="0">
              <a:defRPr lang="en-US" sz="1400" dirty="0"/>
            </a:lvl4pPr>
            <a:lvl5pPr rtl="0"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</a:t>
            </a:r>
            <a:r>
              <a:rPr lang="en-US"/>
              <a:t>level 4</a:t>
            </a:r>
            <a:endParaRPr lang="en-US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4050" y="1857375"/>
            <a:ext cx="1980034" cy="263149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475C8AB-1FCD-402F-8C3E-9BA6CE42B0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27457" y="2175803"/>
            <a:ext cx="1983600" cy="1180836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400" dirty="0"/>
            </a:lvl1pPr>
            <a:lvl2pPr rtl="0">
              <a:defRPr lang="en-US" sz="1400" dirty="0"/>
            </a:lvl2pPr>
            <a:lvl3pPr rtl="0">
              <a:defRPr lang="en-US" sz="1400" dirty="0"/>
            </a:lvl3pPr>
            <a:lvl4pPr rtl="0">
              <a:defRPr lang="en-US" sz="1400" dirty="0"/>
            </a:lvl4pPr>
            <a:lvl5pPr rtl="0"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</a:t>
            </a:r>
            <a:r>
              <a:rPr lang="en-US"/>
              <a:t>level 4</a:t>
            </a:r>
            <a:endParaRPr lang="en-US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435FA198-8A13-4A8F-B4EE-49845B8E81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27457" y="1857375"/>
            <a:ext cx="1983600" cy="263149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6ACE083-C86D-45ED-8C11-019550696D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80643" y="2175803"/>
            <a:ext cx="1980034" cy="1180836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400" dirty="0"/>
            </a:lvl1pPr>
            <a:lvl2pPr rtl="0">
              <a:defRPr lang="en-US" sz="1400" dirty="0"/>
            </a:lvl2pPr>
            <a:lvl3pPr rtl="0">
              <a:defRPr lang="en-US" sz="1400" dirty="0"/>
            </a:lvl3pPr>
            <a:lvl4pPr rtl="0">
              <a:defRPr lang="en-US" sz="1400" dirty="0"/>
            </a:lvl4pPr>
            <a:lvl5pPr rtl="0"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</a:t>
            </a:r>
            <a:r>
              <a:rPr lang="en-US"/>
              <a:t>level 4</a:t>
            </a:r>
            <a:endParaRPr lang="en-US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29247DB4-9C96-4895-AABD-422C522A97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80643" y="1857375"/>
            <a:ext cx="1980034" cy="263149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ADA6637A-F017-4396-B239-B80ED2F97B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60801" y="2175803"/>
            <a:ext cx="1980034" cy="1180836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400" dirty="0"/>
            </a:lvl1pPr>
            <a:lvl2pPr rtl="0">
              <a:defRPr lang="en-US" sz="1400" dirty="0"/>
            </a:lvl2pPr>
            <a:lvl3pPr rtl="0">
              <a:defRPr lang="en-US" sz="1400" dirty="0"/>
            </a:lvl3pPr>
            <a:lvl4pPr rtl="0">
              <a:defRPr lang="en-US" sz="1400" dirty="0"/>
            </a:lvl4pPr>
            <a:lvl5pPr rtl="0"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</a:t>
            </a:r>
            <a:r>
              <a:rPr lang="en-US"/>
              <a:t>level 4</a:t>
            </a:r>
            <a:endParaRPr lang="en-US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7B295F18-5030-4811-B6C7-29EE7444BC7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60801" y="1857375"/>
            <a:ext cx="1980034" cy="263149"/>
          </a:xfrm>
        </p:spPr>
        <p:txBody>
          <a:bodyPr vert="horz" lIns="0" tIns="0" rIns="0" bIns="0" rtlCol="0">
            <a:spAutoFit/>
          </a:bodyPr>
          <a:lstStyle>
            <a:lvl1pPr rtl="0"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646707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7393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1C34F18-9238-4944-9751-DBBFCD9E3C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0" y="-1"/>
            <a:ext cx="4059776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rtl="0"/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8429EF-F441-3040-BB9E-07E66E2B20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232" y="562841"/>
            <a:ext cx="3077171" cy="837152"/>
          </a:xfrm>
        </p:spPr>
        <p:txBody>
          <a:bodyPr vert="horz" wrap="square" lIns="0" tIns="0" rIns="0" bIns="0" rtlCol="0" anchor="t">
            <a:spAutoFit/>
          </a:bodyPr>
          <a:lstStyle>
            <a:lvl1pPr rtl="0">
              <a:defRPr lang="en-US" dirty="0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1E219BD-1BA8-B546-8642-A805A79B59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49577" y="6445294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 rtl="0">
              <a:defRPr lang="en-IN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50101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9557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D057705-6172-4294-BBA5-1648A283F8CF}"/>
              </a:ext>
            </a:extLst>
          </p:cNvPr>
          <p:cNvSpPr/>
          <p:nvPr userDrawn="1"/>
        </p:nvSpPr>
        <p:spPr>
          <a:xfrm>
            <a:off x="0" y="-1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rtl="0"/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1A2FF9-94F4-4F68-B7EE-D99445194A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50862" y="6465614"/>
            <a:ext cx="65" cy="138499"/>
          </a:xfrm>
        </p:spPr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4C70F-8641-4AD5-A3F6-0EBA9C54EA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CB9776C-E953-422C-BB43-BE29FDD18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32D61BF-04DB-4CF5-B8B8-FCCBADB025CC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47906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7237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2C7BEB73-A27D-4B04-A133-510ECB47E91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0" y="-1"/>
            <a:ext cx="4059776" cy="685799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rtl="0"/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8429EF-F441-3040-BB9E-07E66E2B20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232" y="562841"/>
            <a:ext cx="3077171" cy="837152"/>
          </a:xfrm>
        </p:spPr>
        <p:txBody>
          <a:bodyPr vert="horz" wrap="square" lIns="0" tIns="0" rIns="0" bIns="0" rtlCol="0" anchor="t">
            <a:spAutoFit/>
          </a:bodyPr>
          <a:lstStyle>
            <a:lvl1pPr rtl="0">
              <a:defRPr lang="en-US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07D40989-093D-497F-A8CA-3F93ACC11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49577" y="6445294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 rtl="0">
              <a:defRPr lang="en-IN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44835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776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AAE3F72-88DF-4B4D-99C2-2DFE1EFB16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0" y="-1"/>
            <a:ext cx="6098537" cy="685799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rtl="0"/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8429EF-F441-3040-BB9E-07E66E2B20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232" y="562841"/>
            <a:ext cx="5385396" cy="418576"/>
          </a:xfrm>
        </p:spPr>
        <p:txBody>
          <a:bodyPr vert="horz" wrap="square" lIns="0" tIns="0" rIns="0" bIns="0" rtlCol="0" anchor="t">
            <a:spAutoFit/>
          </a:bodyPr>
          <a:lstStyle>
            <a:lvl1pPr rtl="0">
              <a:defRPr lang="en-US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14D1E49-4D99-476D-920F-4752B87617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6142" y="6445294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 rtl="0">
              <a:defRPr lang="en-IN">
                <a:solidFill>
                  <a:schemeClr val="tx2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30358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4080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8FBABF1-7718-43F6-B247-8269F95D22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0" y="-1"/>
            <a:ext cx="4059776" cy="685799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rtl="0"/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8429EF-F441-3040-BB9E-07E66E2B20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141" y="3010422"/>
            <a:ext cx="3032465" cy="837152"/>
          </a:xfrm>
        </p:spPr>
        <p:txBody>
          <a:bodyPr vert="horz" wrap="square" lIns="0" tIns="0" rIns="0" bIns="0" rtlCol="0" anchor="t">
            <a:spAutoFit/>
          </a:bodyPr>
          <a:lstStyle>
            <a:lvl1pPr rtl="0">
              <a:defRPr lang="en-US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806BC45B-28D3-4748-A59A-03B0AF6C41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49577" y="6445294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 rtl="0">
              <a:defRPr lang="en-IN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065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3757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F148355-9A23-4C82-8F0E-F21594843C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4F4AE1-9478-4BD2-88AE-435A08BB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60588"/>
            <a:ext cx="11089972" cy="418576"/>
          </a:xfrm>
        </p:spPr>
        <p:txBody>
          <a:bodyPr vert="horz" wrap="square" lIns="0" tIns="0" rIns="0" bIns="0" rtlCol="0" anchor="t">
            <a:spAutoFit/>
          </a:bodyPr>
          <a:lstStyle>
            <a:lvl1pPr rtl="0">
              <a:defRPr lang="en-IN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C27F5F1-6E1A-43D9-B04D-DEEBA03354E7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3878A702-A86E-4356-99F5-6CC007B3A84C}"/>
              </a:ext>
            </a:extLst>
          </p:cNvPr>
          <p:cNvGrpSpPr/>
          <p:nvPr userDrawn="1"/>
        </p:nvGrpSpPr>
        <p:grpSpPr>
          <a:xfrm>
            <a:off x="11998459" y="6162188"/>
            <a:ext cx="68500" cy="441924"/>
            <a:chOff x="11998459" y="6162188"/>
            <a:chExt cx="68500" cy="441924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75A2218-59DA-4B99-8DEE-5DF1044A636F}"/>
                </a:ext>
              </a:extLst>
            </p:cNvPr>
            <p:cNvSpPr/>
            <p:nvPr/>
          </p:nvSpPr>
          <p:spPr>
            <a:xfrm rot="16200000">
              <a:off x="12063068" y="6476346"/>
              <a:ext cx="17" cy="1717"/>
            </a:xfrm>
            <a:custGeom>
              <a:avLst/>
              <a:gdLst>
                <a:gd name="connsiteX0" fmla="*/ 0 w 17"/>
                <a:gd name="connsiteY0" fmla="*/ 0 h 1717"/>
                <a:gd name="connsiteX1" fmla="*/ 17 w 17"/>
                <a:gd name="connsiteY1" fmla="*/ 0 h 1717"/>
                <a:gd name="connsiteX2" fmla="*/ 17 w 17"/>
                <a:gd name="connsiteY2" fmla="*/ 0 h 1717"/>
                <a:gd name="connsiteX3" fmla="*/ 0 w 17"/>
                <a:gd name="connsiteY3" fmla="*/ 0 h 1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" h="1717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E8F166A-EB8B-4235-A114-5C9D062319D5}"/>
                </a:ext>
              </a:extLst>
            </p:cNvPr>
            <p:cNvSpPr/>
            <p:nvPr/>
          </p:nvSpPr>
          <p:spPr>
            <a:xfrm rot="16200000">
              <a:off x="12023737" y="6455896"/>
              <a:ext cx="453" cy="271"/>
            </a:xfrm>
            <a:custGeom>
              <a:avLst/>
              <a:gdLst>
                <a:gd name="connsiteX0" fmla="*/ 0 w 453"/>
                <a:gd name="connsiteY0" fmla="*/ 0 h 271"/>
                <a:gd name="connsiteX1" fmla="*/ 447 w 453"/>
                <a:gd name="connsiteY1" fmla="*/ 240 h 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" h="271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2FC6C6B-C81D-4FE7-9F3B-65F6B734168D}"/>
                </a:ext>
              </a:extLst>
            </p:cNvPr>
            <p:cNvSpPr/>
            <p:nvPr/>
          </p:nvSpPr>
          <p:spPr>
            <a:xfrm rot="16200000">
              <a:off x="12023907" y="6477766"/>
              <a:ext cx="15" cy="76"/>
            </a:xfrm>
            <a:custGeom>
              <a:avLst/>
              <a:gdLst>
                <a:gd name="connsiteX0" fmla="*/ 15 w 15"/>
                <a:gd name="connsiteY0" fmla="*/ 38 h 76"/>
                <a:gd name="connsiteX1" fmla="*/ 15 w 15"/>
                <a:gd name="connsiteY1" fmla="*/ 38 h 76"/>
                <a:gd name="connsiteX2" fmla="*/ 15 w 15"/>
                <a:gd name="connsiteY2" fmla="*/ 38 h 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" h="76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88EBE5-A780-49FB-9EAB-A8F48E23FAC5}"/>
                </a:ext>
              </a:extLst>
            </p:cNvPr>
            <p:cNvSpPr/>
            <p:nvPr/>
          </p:nvSpPr>
          <p:spPr>
            <a:xfrm rot="16200000">
              <a:off x="12021636" y="6473651"/>
              <a:ext cx="261" cy="103"/>
            </a:xfrm>
            <a:custGeom>
              <a:avLst/>
              <a:gdLst>
                <a:gd name="connsiteX0" fmla="*/ 262 w 261"/>
                <a:gd name="connsiteY0" fmla="*/ 0 h 103"/>
                <a:gd name="connsiteX1" fmla="*/ 56 w 261"/>
                <a:gd name="connsiteY1" fmla="*/ 103 h 103"/>
                <a:gd name="connsiteX2" fmla="*/ 56 w 261"/>
                <a:gd name="connsiteY2" fmla="*/ 103 h 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" h="103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ADB921C-741F-494D-9C24-2E06B3F237E1}"/>
                </a:ext>
              </a:extLst>
            </p:cNvPr>
            <p:cNvSpPr/>
            <p:nvPr/>
          </p:nvSpPr>
          <p:spPr>
            <a:xfrm rot="16200000">
              <a:off x="12015635" y="6442208"/>
              <a:ext cx="51323" cy="51323"/>
            </a:xfrm>
            <a:custGeom>
              <a:avLst/>
              <a:gdLst>
                <a:gd name="connsiteX0" fmla="*/ 25662 w 51323"/>
                <a:gd name="connsiteY0" fmla="*/ 0 h 51323"/>
                <a:gd name="connsiteX1" fmla="*/ 0 w 51323"/>
                <a:gd name="connsiteY1" fmla="*/ 25662 h 51323"/>
                <a:gd name="connsiteX2" fmla="*/ 25662 w 51323"/>
                <a:gd name="connsiteY2" fmla="*/ 51323 h 51323"/>
                <a:gd name="connsiteX3" fmla="*/ 51324 w 51323"/>
                <a:gd name="connsiteY3" fmla="*/ 25662 h 51323"/>
                <a:gd name="connsiteX4" fmla="*/ 51324 w 51323"/>
                <a:gd name="connsiteY4" fmla="*/ 25610 h 51323"/>
                <a:gd name="connsiteX5" fmla="*/ 25679 w 51323"/>
                <a:gd name="connsiteY5" fmla="*/ 0 h 51323"/>
                <a:gd name="connsiteX6" fmla="*/ 25662 w 51323"/>
                <a:gd name="connsiteY6" fmla="*/ 0 h 51323"/>
                <a:gd name="connsiteX7" fmla="*/ 26967 w 51323"/>
                <a:gd name="connsiteY7" fmla="*/ 15648 h 51323"/>
                <a:gd name="connsiteX8" fmla="*/ 26967 w 51323"/>
                <a:gd name="connsiteY8" fmla="*/ 15837 h 51323"/>
                <a:gd name="connsiteX9" fmla="*/ 26744 w 51323"/>
                <a:gd name="connsiteY9" fmla="*/ 15837 h 51323"/>
                <a:gd name="connsiteX10" fmla="*/ 26933 w 51323"/>
                <a:gd name="connsiteY10" fmla="*/ 16163 h 51323"/>
                <a:gd name="connsiteX11" fmla="*/ 27036 w 51323"/>
                <a:gd name="connsiteY11" fmla="*/ 16163 h 51323"/>
                <a:gd name="connsiteX12" fmla="*/ 27294 w 51323"/>
                <a:gd name="connsiteY12" fmla="*/ 16489 h 51323"/>
                <a:gd name="connsiteX13" fmla="*/ 27294 w 51323"/>
                <a:gd name="connsiteY13" fmla="*/ 16489 h 51323"/>
                <a:gd name="connsiteX14" fmla="*/ 27294 w 51323"/>
                <a:gd name="connsiteY14" fmla="*/ 16489 h 51323"/>
                <a:gd name="connsiteX15" fmla="*/ 27294 w 51323"/>
                <a:gd name="connsiteY15" fmla="*/ 16489 h 51323"/>
                <a:gd name="connsiteX16" fmla="*/ 27156 w 51323"/>
                <a:gd name="connsiteY16" fmla="*/ 16489 h 51323"/>
                <a:gd name="connsiteX17" fmla="*/ 27156 w 51323"/>
                <a:gd name="connsiteY17" fmla="*/ 16593 h 51323"/>
                <a:gd name="connsiteX18" fmla="*/ 27156 w 51323"/>
                <a:gd name="connsiteY18" fmla="*/ 16593 h 51323"/>
                <a:gd name="connsiteX19" fmla="*/ 27379 w 51323"/>
                <a:gd name="connsiteY19" fmla="*/ 16593 h 51323"/>
                <a:gd name="connsiteX20" fmla="*/ 27276 w 51323"/>
                <a:gd name="connsiteY20" fmla="*/ 16799 h 51323"/>
                <a:gd name="connsiteX21" fmla="*/ 26744 w 51323"/>
                <a:gd name="connsiteY21" fmla="*/ 16799 h 51323"/>
                <a:gd name="connsiteX22" fmla="*/ 26074 w 51323"/>
                <a:gd name="connsiteY22" fmla="*/ 16902 h 51323"/>
                <a:gd name="connsiteX23" fmla="*/ 25868 w 51323"/>
                <a:gd name="connsiteY23" fmla="*/ 16988 h 51323"/>
                <a:gd name="connsiteX24" fmla="*/ 25559 w 51323"/>
                <a:gd name="connsiteY24" fmla="*/ 17142 h 51323"/>
                <a:gd name="connsiteX25" fmla="*/ 25404 w 51323"/>
                <a:gd name="connsiteY25" fmla="*/ 17142 h 51323"/>
                <a:gd name="connsiteX26" fmla="*/ 25816 w 51323"/>
                <a:gd name="connsiteY26" fmla="*/ 16764 h 51323"/>
                <a:gd name="connsiteX27" fmla="*/ 26194 w 51323"/>
                <a:gd name="connsiteY27" fmla="*/ 16764 h 51323"/>
                <a:gd name="connsiteX28" fmla="*/ 26349 w 51323"/>
                <a:gd name="connsiteY28" fmla="*/ 16541 h 51323"/>
                <a:gd name="connsiteX29" fmla="*/ 26005 w 51323"/>
                <a:gd name="connsiteY29" fmla="*/ 16627 h 51323"/>
                <a:gd name="connsiteX30" fmla="*/ 25902 w 51323"/>
                <a:gd name="connsiteY30" fmla="*/ 16627 h 51323"/>
                <a:gd name="connsiteX31" fmla="*/ 25662 w 51323"/>
                <a:gd name="connsiteY31" fmla="*/ 16627 h 51323"/>
                <a:gd name="connsiteX32" fmla="*/ 25662 w 51323"/>
                <a:gd name="connsiteY32" fmla="*/ 16627 h 51323"/>
                <a:gd name="connsiteX33" fmla="*/ 25662 w 51323"/>
                <a:gd name="connsiteY33" fmla="*/ 16627 h 51323"/>
                <a:gd name="connsiteX34" fmla="*/ 26005 w 51323"/>
                <a:gd name="connsiteY34" fmla="*/ 16215 h 51323"/>
                <a:gd name="connsiteX35" fmla="*/ 25834 w 51323"/>
                <a:gd name="connsiteY35" fmla="*/ 16215 h 51323"/>
                <a:gd name="connsiteX36" fmla="*/ 26297 w 51323"/>
                <a:gd name="connsiteY36" fmla="*/ 16060 h 51323"/>
                <a:gd name="connsiteX37" fmla="*/ 26297 w 51323"/>
                <a:gd name="connsiteY37" fmla="*/ 16060 h 51323"/>
                <a:gd name="connsiteX38" fmla="*/ 26297 w 51323"/>
                <a:gd name="connsiteY38" fmla="*/ 15785 h 51323"/>
                <a:gd name="connsiteX39" fmla="*/ 26194 w 51323"/>
                <a:gd name="connsiteY39" fmla="*/ 15785 h 51323"/>
                <a:gd name="connsiteX40" fmla="*/ 26194 w 51323"/>
                <a:gd name="connsiteY40" fmla="*/ 15785 h 51323"/>
                <a:gd name="connsiteX41" fmla="*/ 26194 w 51323"/>
                <a:gd name="connsiteY41" fmla="*/ 15493 h 51323"/>
                <a:gd name="connsiteX42" fmla="*/ 25834 w 51323"/>
                <a:gd name="connsiteY42" fmla="*/ 15493 h 51323"/>
                <a:gd name="connsiteX43" fmla="*/ 25834 w 51323"/>
                <a:gd name="connsiteY43" fmla="*/ 15596 h 51323"/>
                <a:gd name="connsiteX44" fmla="*/ 25713 w 51323"/>
                <a:gd name="connsiteY44" fmla="*/ 15596 h 51323"/>
                <a:gd name="connsiteX45" fmla="*/ 25713 w 51323"/>
                <a:gd name="connsiteY45" fmla="*/ 15459 h 51323"/>
                <a:gd name="connsiteX46" fmla="*/ 25713 w 51323"/>
                <a:gd name="connsiteY46" fmla="*/ 15459 h 51323"/>
                <a:gd name="connsiteX47" fmla="*/ 25816 w 51323"/>
                <a:gd name="connsiteY47" fmla="*/ 15236 h 51323"/>
                <a:gd name="connsiteX48" fmla="*/ 25816 w 51323"/>
                <a:gd name="connsiteY48" fmla="*/ 15064 h 51323"/>
                <a:gd name="connsiteX49" fmla="*/ 25816 w 51323"/>
                <a:gd name="connsiteY49" fmla="*/ 14961 h 51323"/>
                <a:gd name="connsiteX50" fmla="*/ 25816 w 51323"/>
                <a:gd name="connsiteY50" fmla="*/ 15081 h 51323"/>
                <a:gd name="connsiteX51" fmla="*/ 25816 w 51323"/>
                <a:gd name="connsiteY51" fmla="*/ 15081 h 51323"/>
                <a:gd name="connsiteX52" fmla="*/ 25816 w 51323"/>
                <a:gd name="connsiteY52" fmla="*/ 15081 h 51323"/>
                <a:gd name="connsiteX53" fmla="*/ 25816 w 51323"/>
                <a:gd name="connsiteY53" fmla="*/ 15081 h 51323"/>
                <a:gd name="connsiteX54" fmla="*/ 25816 w 51323"/>
                <a:gd name="connsiteY54" fmla="*/ 15356 h 51323"/>
                <a:gd name="connsiteX55" fmla="*/ 25816 w 51323"/>
                <a:gd name="connsiteY55" fmla="*/ 15167 h 51323"/>
                <a:gd name="connsiteX56" fmla="*/ 25919 w 51323"/>
                <a:gd name="connsiteY56" fmla="*/ 14823 h 51323"/>
                <a:gd name="connsiteX57" fmla="*/ 25919 w 51323"/>
                <a:gd name="connsiteY57" fmla="*/ 14823 h 51323"/>
                <a:gd name="connsiteX58" fmla="*/ 25731 w 51323"/>
                <a:gd name="connsiteY58" fmla="*/ 14823 h 51323"/>
                <a:gd name="connsiteX59" fmla="*/ 25731 w 51323"/>
                <a:gd name="connsiteY59" fmla="*/ 14823 h 51323"/>
                <a:gd name="connsiteX60" fmla="*/ 25868 w 51323"/>
                <a:gd name="connsiteY60" fmla="*/ 14737 h 51323"/>
                <a:gd name="connsiteX61" fmla="*/ 25868 w 51323"/>
                <a:gd name="connsiteY61" fmla="*/ 14737 h 51323"/>
                <a:gd name="connsiteX62" fmla="*/ 25868 w 51323"/>
                <a:gd name="connsiteY62" fmla="*/ 14737 h 51323"/>
                <a:gd name="connsiteX63" fmla="*/ 25868 w 51323"/>
                <a:gd name="connsiteY63" fmla="*/ 14737 h 51323"/>
                <a:gd name="connsiteX64" fmla="*/ 25868 w 51323"/>
                <a:gd name="connsiteY64" fmla="*/ 14737 h 51323"/>
                <a:gd name="connsiteX65" fmla="*/ 25868 w 51323"/>
                <a:gd name="connsiteY65" fmla="*/ 14737 h 51323"/>
                <a:gd name="connsiteX66" fmla="*/ 25868 w 51323"/>
                <a:gd name="connsiteY66" fmla="*/ 14652 h 51323"/>
                <a:gd name="connsiteX67" fmla="*/ 25868 w 51323"/>
                <a:gd name="connsiteY67" fmla="*/ 14652 h 51323"/>
                <a:gd name="connsiteX68" fmla="*/ 25868 w 51323"/>
                <a:gd name="connsiteY68" fmla="*/ 14514 h 51323"/>
                <a:gd name="connsiteX69" fmla="*/ 25868 w 51323"/>
                <a:gd name="connsiteY69" fmla="*/ 14514 h 51323"/>
                <a:gd name="connsiteX70" fmla="*/ 25868 w 51323"/>
                <a:gd name="connsiteY70" fmla="*/ 14514 h 51323"/>
                <a:gd name="connsiteX71" fmla="*/ 25971 w 51323"/>
                <a:gd name="connsiteY71" fmla="*/ 14514 h 51323"/>
                <a:gd name="connsiteX72" fmla="*/ 25971 w 51323"/>
                <a:gd name="connsiteY72" fmla="*/ 14428 h 51323"/>
                <a:gd name="connsiteX73" fmla="*/ 26126 w 51323"/>
                <a:gd name="connsiteY73" fmla="*/ 14291 h 51323"/>
                <a:gd name="connsiteX74" fmla="*/ 26126 w 51323"/>
                <a:gd name="connsiteY74" fmla="*/ 14291 h 51323"/>
                <a:gd name="connsiteX75" fmla="*/ 26126 w 51323"/>
                <a:gd name="connsiteY75" fmla="*/ 14531 h 51323"/>
                <a:gd name="connsiteX76" fmla="*/ 26126 w 51323"/>
                <a:gd name="connsiteY76" fmla="*/ 14531 h 51323"/>
                <a:gd name="connsiteX77" fmla="*/ 26486 w 51323"/>
                <a:gd name="connsiteY77" fmla="*/ 14531 h 51323"/>
                <a:gd name="connsiteX78" fmla="*/ 26263 w 51323"/>
                <a:gd name="connsiteY78" fmla="*/ 14995 h 51323"/>
                <a:gd name="connsiteX79" fmla="*/ 26263 w 51323"/>
                <a:gd name="connsiteY79" fmla="*/ 14995 h 51323"/>
                <a:gd name="connsiteX80" fmla="*/ 26005 w 51323"/>
                <a:gd name="connsiteY80" fmla="*/ 14995 h 51323"/>
                <a:gd name="connsiteX81" fmla="*/ 26224 w 51323"/>
                <a:gd name="connsiteY81" fmla="*/ 15000 h 51323"/>
                <a:gd name="connsiteX82" fmla="*/ 26229 w 51323"/>
                <a:gd name="connsiteY82" fmla="*/ 14995 h 51323"/>
                <a:gd name="connsiteX83" fmla="*/ 26589 w 51323"/>
                <a:gd name="connsiteY83" fmla="*/ 15579 h 51323"/>
                <a:gd name="connsiteX84" fmla="*/ 26967 w 51323"/>
                <a:gd name="connsiteY84" fmla="*/ 15613 h 51323"/>
                <a:gd name="connsiteX85" fmla="*/ 18138 w 51323"/>
                <a:gd name="connsiteY85" fmla="*/ 47476 h 51323"/>
                <a:gd name="connsiteX86" fmla="*/ 18138 w 51323"/>
                <a:gd name="connsiteY86" fmla="*/ 47476 h 51323"/>
                <a:gd name="connsiteX87" fmla="*/ 18138 w 51323"/>
                <a:gd name="connsiteY87" fmla="*/ 47476 h 51323"/>
                <a:gd name="connsiteX88" fmla="*/ 18138 w 51323"/>
                <a:gd name="connsiteY88" fmla="*/ 47476 h 51323"/>
                <a:gd name="connsiteX89" fmla="*/ 18224 w 51323"/>
                <a:gd name="connsiteY89" fmla="*/ 47476 h 51323"/>
                <a:gd name="connsiteX90" fmla="*/ 18224 w 51323"/>
                <a:gd name="connsiteY90" fmla="*/ 47476 h 51323"/>
                <a:gd name="connsiteX91" fmla="*/ 17984 w 51323"/>
                <a:gd name="connsiteY91" fmla="*/ 47338 h 51323"/>
                <a:gd name="connsiteX92" fmla="*/ 17984 w 51323"/>
                <a:gd name="connsiteY92" fmla="*/ 47338 h 51323"/>
                <a:gd name="connsiteX93" fmla="*/ 17984 w 51323"/>
                <a:gd name="connsiteY93" fmla="*/ 47338 h 51323"/>
                <a:gd name="connsiteX94" fmla="*/ 18070 w 51323"/>
                <a:gd name="connsiteY94" fmla="*/ 47338 h 51323"/>
                <a:gd name="connsiteX95" fmla="*/ 18070 w 51323"/>
                <a:gd name="connsiteY95" fmla="*/ 47338 h 51323"/>
                <a:gd name="connsiteX96" fmla="*/ 18070 w 51323"/>
                <a:gd name="connsiteY96" fmla="*/ 47338 h 51323"/>
                <a:gd name="connsiteX97" fmla="*/ 17795 w 51323"/>
                <a:gd name="connsiteY97" fmla="*/ 47218 h 51323"/>
                <a:gd name="connsiteX98" fmla="*/ 17795 w 51323"/>
                <a:gd name="connsiteY98" fmla="*/ 47218 h 51323"/>
                <a:gd name="connsiteX99" fmla="*/ 17795 w 51323"/>
                <a:gd name="connsiteY99" fmla="*/ 47218 h 51323"/>
                <a:gd name="connsiteX100" fmla="*/ 17692 w 51323"/>
                <a:gd name="connsiteY100" fmla="*/ 47218 h 51323"/>
                <a:gd name="connsiteX101" fmla="*/ 17692 w 51323"/>
                <a:gd name="connsiteY101" fmla="*/ 47218 h 51323"/>
                <a:gd name="connsiteX102" fmla="*/ 17692 w 51323"/>
                <a:gd name="connsiteY102" fmla="*/ 47218 h 51323"/>
                <a:gd name="connsiteX103" fmla="*/ 17692 w 51323"/>
                <a:gd name="connsiteY103" fmla="*/ 47218 h 51323"/>
                <a:gd name="connsiteX104" fmla="*/ 17864 w 51323"/>
                <a:gd name="connsiteY104" fmla="*/ 47218 h 51323"/>
                <a:gd name="connsiteX105" fmla="*/ 17658 w 51323"/>
                <a:gd name="connsiteY105" fmla="*/ 47218 h 51323"/>
                <a:gd name="connsiteX106" fmla="*/ 17658 w 51323"/>
                <a:gd name="connsiteY106" fmla="*/ 47218 h 51323"/>
                <a:gd name="connsiteX107" fmla="*/ 17417 w 51323"/>
                <a:gd name="connsiteY107" fmla="*/ 47115 h 51323"/>
                <a:gd name="connsiteX108" fmla="*/ 17417 w 51323"/>
                <a:gd name="connsiteY108" fmla="*/ 47115 h 51323"/>
                <a:gd name="connsiteX109" fmla="*/ 17417 w 51323"/>
                <a:gd name="connsiteY109" fmla="*/ 47115 h 51323"/>
                <a:gd name="connsiteX110" fmla="*/ 17280 w 51323"/>
                <a:gd name="connsiteY110" fmla="*/ 47115 h 51323"/>
                <a:gd name="connsiteX111" fmla="*/ 17469 w 51323"/>
                <a:gd name="connsiteY111" fmla="*/ 47218 h 51323"/>
                <a:gd name="connsiteX112" fmla="*/ 17194 w 51323"/>
                <a:gd name="connsiteY112" fmla="*/ 47081 h 51323"/>
                <a:gd name="connsiteX113" fmla="*/ 17194 w 51323"/>
                <a:gd name="connsiteY113" fmla="*/ 47081 h 51323"/>
                <a:gd name="connsiteX114" fmla="*/ 17366 w 51323"/>
                <a:gd name="connsiteY114" fmla="*/ 47081 h 51323"/>
                <a:gd name="connsiteX115" fmla="*/ 17228 w 51323"/>
                <a:gd name="connsiteY115" fmla="*/ 47081 h 51323"/>
                <a:gd name="connsiteX116" fmla="*/ 17366 w 51323"/>
                <a:gd name="connsiteY116" fmla="*/ 47081 h 51323"/>
                <a:gd name="connsiteX117" fmla="*/ 17108 w 51323"/>
                <a:gd name="connsiteY117" fmla="*/ 46961 h 51323"/>
                <a:gd name="connsiteX118" fmla="*/ 17108 w 51323"/>
                <a:gd name="connsiteY118" fmla="*/ 46961 h 51323"/>
                <a:gd name="connsiteX119" fmla="*/ 17005 w 51323"/>
                <a:gd name="connsiteY119" fmla="*/ 46961 h 51323"/>
                <a:gd name="connsiteX120" fmla="*/ 17005 w 51323"/>
                <a:gd name="connsiteY120" fmla="*/ 46961 h 51323"/>
                <a:gd name="connsiteX121" fmla="*/ 16782 w 51323"/>
                <a:gd name="connsiteY121" fmla="*/ 46858 h 51323"/>
                <a:gd name="connsiteX122" fmla="*/ 16782 w 51323"/>
                <a:gd name="connsiteY122" fmla="*/ 46858 h 51323"/>
                <a:gd name="connsiteX123" fmla="*/ 16696 w 51323"/>
                <a:gd name="connsiteY123" fmla="*/ 46858 h 51323"/>
                <a:gd name="connsiteX124" fmla="*/ 16696 w 51323"/>
                <a:gd name="connsiteY124" fmla="*/ 46858 h 51323"/>
                <a:gd name="connsiteX125" fmla="*/ 16301 w 51323"/>
                <a:gd name="connsiteY125" fmla="*/ 46651 h 51323"/>
                <a:gd name="connsiteX126" fmla="*/ 16301 w 51323"/>
                <a:gd name="connsiteY126" fmla="*/ 46651 h 51323"/>
                <a:gd name="connsiteX127" fmla="*/ 16129 w 51323"/>
                <a:gd name="connsiteY127" fmla="*/ 46548 h 51323"/>
                <a:gd name="connsiteX128" fmla="*/ 16283 w 51323"/>
                <a:gd name="connsiteY128" fmla="*/ 46651 h 51323"/>
                <a:gd name="connsiteX129" fmla="*/ 15940 w 51323"/>
                <a:gd name="connsiteY129" fmla="*/ 46462 h 51323"/>
                <a:gd name="connsiteX130" fmla="*/ 15940 w 51323"/>
                <a:gd name="connsiteY130" fmla="*/ 46462 h 51323"/>
                <a:gd name="connsiteX131" fmla="*/ 15837 w 51323"/>
                <a:gd name="connsiteY131" fmla="*/ 46462 h 51323"/>
                <a:gd name="connsiteX132" fmla="*/ 15837 w 51323"/>
                <a:gd name="connsiteY132" fmla="*/ 46462 h 51323"/>
                <a:gd name="connsiteX133" fmla="*/ 15665 w 51323"/>
                <a:gd name="connsiteY133" fmla="*/ 46359 h 51323"/>
                <a:gd name="connsiteX134" fmla="*/ 15665 w 51323"/>
                <a:gd name="connsiteY134" fmla="*/ 46359 h 51323"/>
                <a:gd name="connsiteX135" fmla="*/ 15665 w 51323"/>
                <a:gd name="connsiteY135" fmla="*/ 46359 h 51323"/>
                <a:gd name="connsiteX136" fmla="*/ 15665 w 51323"/>
                <a:gd name="connsiteY136" fmla="*/ 46359 h 51323"/>
                <a:gd name="connsiteX137" fmla="*/ 15510 w 51323"/>
                <a:gd name="connsiteY137" fmla="*/ 46274 h 51323"/>
                <a:gd name="connsiteX138" fmla="*/ 15510 w 51323"/>
                <a:gd name="connsiteY138" fmla="*/ 46274 h 51323"/>
                <a:gd name="connsiteX139" fmla="*/ 15339 w 51323"/>
                <a:gd name="connsiteY139" fmla="*/ 46153 h 51323"/>
                <a:gd name="connsiteX140" fmla="*/ 15339 w 51323"/>
                <a:gd name="connsiteY140" fmla="*/ 46153 h 51323"/>
                <a:gd name="connsiteX141" fmla="*/ 15201 w 51323"/>
                <a:gd name="connsiteY141" fmla="*/ 46153 h 51323"/>
                <a:gd name="connsiteX142" fmla="*/ 15201 w 51323"/>
                <a:gd name="connsiteY142" fmla="*/ 46153 h 51323"/>
                <a:gd name="connsiteX143" fmla="*/ 15081 w 51323"/>
                <a:gd name="connsiteY143" fmla="*/ 46153 h 51323"/>
                <a:gd name="connsiteX144" fmla="*/ 15081 w 51323"/>
                <a:gd name="connsiteY144" fmla="*/ 46153 h 51323"/>
                <a:gd name="connsiteX145" fmla="*/ 15218 w 51323"/>
                <a:gd name="connsiteY145" fmla="*/ 46239 h 51323"/>
                <a:gd name="connsiteX146" fmla="*/ 15081 w 51323"/>
                <a:gd name="connsiteY146" fmla="*/ 46153 h 51323"/>
                <a:gd name="connsiteX147" fmla="*/ 15081 w 51323"/>
                <a:gd name="connsiteY147" fmla="*/ 46153 h 51323"/>
                <a:gd name="connsiteX148" fmla="*/ 14961 w 51323"/>
                <a:gd name="connsiteY148" fmla="*/ 46153 h 51323"/>
                <a:gd name="connsiteX149" fmla="*/ 14961 w 51323"/>
                <a:gd name="connsiteY149" fmla="*/ 46153 h 51323"/>
                <a:gd name="connsiteX150" fmla="*/ 14823 w 51323"/>
                <a:gd name="connsiteY150" fmla="*/ 46067 h 51323"/>
                <a:gd name="connsiteX151" fmla="*/ 15012 w 51323"/>
                <a:gd name="connsiteY151" fmla="*/ 46170 h 51323"/>
                <a:gd name="connsiteX152" fmla="*/ 15184 w 51323"/>
                <a:gd name="connsiteY152" fmla="*/ 46274 h 51323"/>
                <a:gd name="connsiteX153" fmla="*/ 14720 w 51323"/>
                <a:gd name="connsiteY153" fmla="*/ 45947 h 51323"/>
                <a:gd name="connsiteX154" fmla="*/ 14720 w 51323"/>
                <a:gd name="connsiteY154" fmla="*/ 45947 h 51323"/>
                <a:gd name="connsiteX155" fmla="*/ 13879 w 51323"/>
                <a:gd name="connsiteY155" fmla="*/ 45312 h 51323"/>
                <a:gd name="connsiteX156" fmla="*/ 13982 w 51323"/>
                <a:gd name="connsiteY156" fmla="*/ 45312 h 51323"/>
                <a:gd name="connsiteX157" fmla="*/ 13827 w 51323"/>
                <a:gd name="connsiteY157" fmla="*/ 45191 h 51323"/>
                <a:gd name="connsiteX158" fmla="*/ 13827 w 51323"/>
                <a:gd name="connsiteY158" fmla="*/ 45191 h 51323"/>
                <a:gd name="connsiteX159" fmla="*/ 13724 w 51323"/>
                <a:gd name="connsiteY159" fmla="*/ 45191 h 51323"/>
                <a:gd name="connsiteX160" fmla="*/ 13724 w 51323"/>
                <a:gd name="connsiteY160" fmla="*/ 45191 h 51323"/>
                <a:gd name="connsiteX161" fmla="*/ 13724 w 51323"/>
                <a:gd name="connsiteY161" fmla="*/ 45191 h 51323"/>
                <a:gd name="connsiteX162" fmla="*/ 13724 w 51323"/>
                <a:gd name="connsiteY162" fmla="*/ 45191 h 51323"/>
                <a:gd name="connsiteX163" fmla="*/ 13106 w 51323"/>
                <a:gd name="connsiteY163" fmla="*/ 44710 h 51323"/>
                <a:gd name="connsiteX164" fmla="*/ 13106 w 51323"/>
                <a:gd name="connsiteY164" fmla="*/ 44710 h 51323"/>
                <a:gd name="connsiteX165" fmla="*/ 12316 w 51323"/>
                <a:gd name="connsiteY165" fmla="*/ 44023 h 51323"/>
                <a:gd name="connsiteX166" fmla="*/ 12316 w 51323"/>
                <a:gd name="connsiteY166" fmla="*/ 44023 h 51323"/>
                <a:gd name="connsiteX167" fmla="*/ 9567 w 51323"/>
                <a:gd name="connsiteY167" fmla="*/ 40434 h 51323"/>
                <a:gd name="connsiteX168" fmla="*/ 9567 w 51323"/>
                <a:gd name="connsiteY168" fmla="*/ 40434 h 51323"/>
                <a:gd name="connsiteX169" fmla="*/ 8021 w 51323"/>
                <a:gd name="connsiteY169" fmla="*/ 37788 h 51323"/>
                <a:gd name="connsiteX170" fmla="*/ 8021 w 51323"/>
                <a:gd name="connsiteY170" fmla="*/ 37788 h 51323"/>
                <a:gd name="connsiteX171" fmla="*/ 5840 w 51323"/>
                <a:gd name="connsiteY171" fmla="*/ 33494 h 51323"/>
                <a:gd name="connsiteX172" fmla="*/ 5840 w 51323"/>
                <a:gd name="connsiteY172" fmla="*/ 33580 h 51323"/>
                <a:gd name="connsiteX173" fmla="*/ 5840 w 51323"/>
                <a:gd name="connsiteY173" fmla="*/ 33477 h 51323"/>
                <a:gd name="connsiteX174" fmla="*/ 5840 w 51323"/>
                <a:gd name="connsiteY174" fmla="*/ 33614 h 51323"/>
                <a:gd name="connsiteX175" fmla="*/ 5222 w 51323"/>
                <a:gd name="connsiteY175" fmla="*/ 30299 h 51323"/>
                <a:gd name="connsiteX176" fmla="*/ 5222 w 51323"/>
                <a:gd name="connsiteY176" fmla="*/ 30042 h 51323"/>
                <a:gd name="connsiteX177" fmla="*/ 5222 w 51323"/>
                <a:gd name="connsiteY177" fmla="*/ 30128 h 51323"/>
                <a:gd name="connsiteX178" fmla="*/ 5067 w 51323"/>
                <a:gd name="connsiteY178" fmla="*/ 29784 h 51323"/>
                <a:gd name="connsiteX179" fmla="*/ 5067 w 51323"/>
                <a:gd name="connsiteY179" fmla="*/ 29784 h 51323"/>
                <a:gd name="connsiteX180" fmla="*/ 5067 w 51323"/>
                <a:gd name="connsiteY180" fmla="*/ 29784 h 51323"/>
                <a:gd name="connsiteX181" fmla="*/ 5067 w 51323"/>
                <a:gd name="connsiteY181" fmla="*/ 29544 h 51323"/>
                <a:gd name="connsiteX182" fmla="*/ 5067 w 51323"/>
                <a:gd name="connsiteY182" fmla="*/ 29715 h 51323"/>
                <a:gd name="connsiteX183" fmla="*/ 4844 w 51323"/>
                <a:gd name="connsiteY183" fmla="*/ 28908 h 51323"/>
                <a:gd name="connsiteX184" fmla="*/ 4844 w 51323"/>
                <a:gd name="connsiteY184" fmla="*/ 29183 h 51323"/>
                <a:gd name="connsiteX185" fmla="*/ 4552 w 51323"/>
                <a:gd name="connsiteY185" fmla="*/ 27843 h 51323"/>
                <a:gd name="connsiteX186" fmla="*/ 4552 w 51323"/>
                <a:gd name="connsiteY186" fmla="*/ 27740 h 51323"/>
                <a:gd name="connsiteX187" fmla="*/ 4552 w 51323"/>
                <a:gd name="connsiteY187" fmla="*/ 27740 h 51323"/>
                <a:gd name="connsiteX188" fmla="*/ 4552 w 51323"/>
                <a:gd name="connsiteY188" fmla="*/ 27740 h 51323"/>
                <a:gd name="connsiteX189" fmla="*/ 4552 w 51323"/>
                <a:gd name="connsiteY189" fmla="*/ 27740 h 51323"/>
                <a:gd name="connsiteX190" fmla="*/ 4208 w 51323"/>
                <a:gd name="connsiteY190" fmla="*/ 26297 h 51323"/>
                <a:gd name="connsiteX191" fmla="*/ 4208 w 51323"/>
                <a:gd name="connsiteY191" fmla="*/ 26503 h 51323"/>
                <a:gd name="connsiteX192" fmla="*/ 4208 w 51323"/>
                <a:gd name="connsiteY192" fmla="*/ 26297 h 51323"/>
                <a:gd name="connsiteX193" fmla="*/ 4208 w 51323"/>
                <a:gd name="connsiteY193" fmla="*/ 26297 h 51323"/>
                <a:gd name="connsiteX194" fmla="*/ 4208 w 51323"/>
                <a:gd name="connsiteY194" fmla="*/ 26297 h 51323"/>
                <a:gd name="connsiteX195" fmla="*/ 4208 w 51323"/>
                <a:gd name="connsiteY195" fmla="*/ 26297 h 51323"/>
                <a:gd name="connsiteX196" fmla="*/ 4208 w 51323"/>
                <a:gd name="connsiteY196" fmla="*/ 26297 h 51323"/>
                <a:gd name="connsiteX197" fmla="*/ 4208 w 51323"/>
                <a:gd name="connsiteY197" fmla="*/ 26400 h 51323"/>
                <a:gd name="connsiteX198" fmla="*/ 4208 w 51323"/>
                <a:gd name="connsiteY198" fmla="*/ 26400 h 51323"/>
                <a:gd name="connsiteX199" fmla="*/ 4208 w 51323"/>
                <a:gd name="connsiteY199" fmla="*/ 26400 h 51323"/>
                <a:gd name="connsiteX200" fmla="*/ 4208 w 51323"/>
                <a:gd name="connsiteY200" fmla="*/ 26400 h 51323"/>
                <a:gd name="connsiteX201" fmla="*/ 4208 w 51323"/>
                <a:gd name="connsiteY201" fmla="*/ 26091 h 51323"/>
                <a:gd name="connsiteX202" fmla="*/ 4208 w 51323"/>
                <a:gd name="connsiteY202" fmla="*/ 26091 h 51323"/>
                <a:gd name="connsiteX203" fmla="*/ 4208 w 51323"/>
                <a:gd name="connsiteY203" fmla="*/ 25919 h 51323"/>
                <a:gd name="connsiteX204" fmla="*/ 4208 w 51323"/>
                <a:gd name="connsiteY204" fmla="*/ 25919 h 51323"/>
                <a:gd name="connsiteX205" fmla="*/ 4208 w 51323"/>
                <a:gd name="connsiteY205" fmla="*/ 25198 h 51323"/>
                <a:gd name="connsiteX206" fmla="*/ 4208 w 51323"/>
                <a:gd name="connsiteY206" fmla="*/ 25198 h 51323"/>
                <a:gd name="connsiteX207" fmla="*/ 4208 w 51323"/>
                <a:gd name="connsiteY207" fmla="*/ 25078 h 51323"/>
                <a:gd name="connsiteX208" fmla="*/ 4208 w 51323"/>
                <a:gd name="connsiteY208" fmla="*/ 25078 h 51323"/>
                <a:gd name="connsiteX209" fmla="*/ 19787 w 51323"/>
                <a:gd name="connsiteY209" fmla="*/ 4706 h 51323"/>
                <a:gd name="connsiteX210" fmla="*/ 19787 w 51323"/>
                <a:gd name="connsiteY210" fmla="*/ 4706 h 51323"/>
                <a:gd name="connsiteX211" fmla="*/ 19994 w 51323"/>
                <a:gd name="connsiteY211" fmla="*/ 4706 h 51323"/>
                <a:gd name="connsiteX212" fmla="*/ 19994 w 51323"/>
                <a:gd name="connsiteY212" fmla="*/ 4706 h 51323"/>
                <a:gd name="connsiteX213" fmla="*/ 20217 w 51323"/>
                <a:gd name="connsiteY213" fmla="*/ 4706 h 51323"/>
                <a:gd name="connsiteX214" fmla="*/ 20062 w 51323"/>
                <a:gd name="connsiteY214" fmla="*/ 4706 h 51323"/>
                <a:gd name="connsiteX215" fmla="*/ 20337 w 51323"/>
                <a:gd name="connsiteY215" fmla="*/ 4706 h 51323"/>
                <a:gd name="connsiteX216" fmla="*/ 20234 w 51323"/>
                <a:gd name="connsiteY216" fmla="*/ 4706 h 51323"/>
                <a:gd name="connsiteX217" fmla="*/ 20234 w 51323"/>
                <a:gd name="connsiteY217" fmla="*/ 4706 h 51323"/>
                <a:gd name="connsiteX218" fmla="*/ 20423 w 51323"/>
                <a:gd name="connsiteY218" fmla="*/ 4706 h 51323"/>
                <a:gd name="connsiteX219" fmla="*/ 20423 w 51323"/>
                <a:gd name="connsiteY219" fmla="*/ 4706 h 51323"/>
                <a:gd name="connsiteX220" fmla="*/ 21711 w 51323"/>
                <a:gd name="connsiteY220" fmla="*/ 4414 h 51323"/>
                <a:gd name="connsiteX221" fmla="*/ 21711 w 51323"/>
                <a:gd name="connsiteY221" fmla="*/ 4414 h 51323"/>
                <a:gd name="connsiteX222" fmla="*/ 22038 w 51323"/>
                <a:gd name="connsiteY222" fmla="*/ 4414 h 51323"/>
                <a:gd name="connsiteX223" fmla="*/ 21814 w 51323"/>
                <a:gd name="connsiteY223" fmla="*/ 4414 h 51323"/>
                <a:gd name="connsiteX224" fmla="*/ 21814 w 51323"/>
                <a:gd name="connsiteY224" fmla="*/ 4414 h 51323"/>
                <a:gd name="connsiteX225" fmla="*/ 22415 w 51323"/>
                <a:gd name="connsiteY225" fmla="*/ 4414 h 51323"/>
                <a:gd name="connsiteX226" fmla="*/ 22415 w 51323"/>
                <a:gd name="connsiteY226" fmla="*/ 4414 h 51323"/>
                <a:gd name="connsiteX227" fmla="*/ 22106 w 51323"/>
                <a:gd name="connsiteY227" fmla="*/ 4414 h 51323"/>
                <a:gd name="connsiteX228" fmla="*/ 22398 w 51323"/>
                <a:gd name="connsiteY228" fmla="*/ 4414 h 51323"/>
                <a:gd name="connsiteX229" fmla="*/ 22398 w 51323"/>
                <a:gd name="connsiteY229" fmla="*/ 4414 h 51323"/>
                <a:gd name="connsiteX230" fmla="*/ 22690 w 51323"/>
                <a:gd name="connsiteY230" fmla="*/ 4414 h 51323"/>
                <a:gd name="connsiteX231" fmla="*/ 22587 w 51323"/>
                <a:gd name="connsiteY231" fmla="*/ 4414 h 51323"/>
                <a:gd name="connsiteX232" fmla="*/ 22484 w 51323"/>
                <a:gd name="connsiteY232" fmla="*/ 4414 h 51323"/>
                <a:gd name="connsiteX233" fmla="*/ 22725 w 51323"/>
                <a:gd name="connsiteY233" fmla="*/ 4414 h 51323"/>
                <a:gd name="connsiteX234" fmla="*/ 22347 w 51323"/>
                <a:gd name="connsiteY234" fmla="*/ 4414 h 51323"/>
                <a:gd name="connsiteX235" fmla="*/ 22244 w 51323"/>
                <a:gd name="connsiteY235" fmla="*/ 4414 h 51323"/>
                <a:gd name="connsiteX236" fmla="*/ 22055 w 51323"/>
                <a:gd name="connsiteY236" fmla="*/ 4414 h 51323"/>
                <a:gd name="connsiteX237" fmla="*/ 22415 w 51323"/>
                <a:gd name="connsiteY237" fmla="*/ 4414 h 51323"/>
                <a:gd name="connsiteX238" fmla="*/ 22020 w 51323"/>
                <a:gd name="connsiteY238" fmla="*/ 4414 h 51323"/>
                <a:gd name="connsiteX239" fmla="*/ 22020 w 51323"/>
                <a:gd name="connsiteY239" fmla="*/ 4414 h 51323"/>
                <a:gd name="connsiteX240" fmla="*/ 21608 w 51323"/>
                <a:gd name="connsiteY240" fmla="*/ 4414 h 51323"/>
                <a:gd name="connsiteX241" fmla="*/ 21608 w 51323"/>
                <a:gd name="connsiteY241" fmla="*/ 4414 h 51323"/>
                <a:gd name="connsiteX242" fmla="*/ 21213 w 51323"/>
                <a:gd name="connsiteY242" fmla="*/ 4500 h 51323"/>
                <a:gd name="connsiteX243" fmla="*/ 21385 w 51323"/>
                <a:gd name="connsiteY243" fmla="*/ 4500 h 51323"/>
                <a:gd name="connsiteX244" fmla="*/ 21385 w 51323"/>
                <a:gd name="connsiteY244" fmla="*/ 4500 h 51323"/>
                <a:gd name="connsiteX245" fmla="*/ 20973 w 51323"/>
                <a:gd name="connsiteY245" fmla="*/ 4586 h 51323"/>
                <a:gd name="connsiteX246" fmla="*/ 21144 w 51323"/>
                <a:gd name="connsiteY246" fmla="*/ 4586 h 51323"/>
                <a:gd name="connsiteX247" fmla="*/ 20955 w 51323"/>
                <a:gd name="connsiteY247" fmla="*/ 4586 h 51323"/>
                <a:gd name="connsiteX248" fmla="*/ 20955 w 51323"/>
                <a:gd name="connsiteY248" fmla="*/ 4586 h 51323"/>
                <a:gd name="connsiteX249" fmla="*/ 20835 w 51323"/>
                <a:gd name="connsiteY249" fmla="*/ 4586 h 51323"/>
                <a:gd name="connsiteX250" fmla="*/ 20835 w 51323"/>
                <a:gd name="connsiteY250" fmla="*/ 4586 h 51323"/>
                <a:gd name="connsiteX251" fmla="*/ 20835 w 51323"/>
                <a:gd name="connsiteY251" fmla="*/ 4586 h 51323"/>
                <a:gd name="connsiteX252" fmla="*/ 20835 w 51323"/>
                <a:gd name="connsiteY252" fmla="*/ 4586 h 51323"/>
                <a:gd name="connsiteX253" fmla="*/ 20835 w 51323"/>
                <a:gd name="connsiteY253" fmla="*/ 4586 h 51323"/>
                <a:gd name="connsiteX254" fmla="*/ 20663 w 51323"/>
                <a:gd name="connsiteY254" fmla="*/ 4586 h 51323"/>
                <a:gd name="connsiteX255" fmla="*/ 20663 w 51323"/>
                <a:gd name="connsiteY255" fmla="*/ 4586 h 51323"/>
                <a:gd name="connsiteX256" fmla="*/ 20663 w 51323"/>
                <a:gd name="connsiteY256" fmla="*/ 4586 h 51323"/>
                <a:gd name="connsiteX257" fmla="*/ 20663 w 51323"/>
                <a:gd name="connsiteY257" fmla="*/ 4586 h 51323"/>
                <a:gd name="connsiteX258" fmla="*/ 20560 w 51323"/>
                <a:gd name="connsiteY258" fmla="*/ 4586 h 51323"/>
                <a:gd name="connsiteX259" fmla="*/ 20560 w 51323"/>
                <a:gd name="connsiteY259" fmla="*/ 4586 h 51323"/>
                <a:gd name="connsiteX260" fmla="*/ 20114 w 51323"/>
                <a:gd name="connsiteY260" fmla="*/ 4706 h 51323"/>
                <a:gd name="connsiteX261" fmla="*/ 20114 w 51323"/>
                <a:gd name="connsiteY261" fmla="*/ 4706 h 51323"/>
                <a:gd name="connsiteX262" fmla="*/ 19787 w 51323"/>
                <a:gd name="connsiteY262" fmla="*/ 4827 h 51323"/>
                <a:gd name="connsiteX263" fmla="*/ 19787 w 51323"/>
                <a:gd name="connsiteY263" fmla="*/ 4827 h 51323"/>
                <a:gd name="connsiteX264" fmla="*/ 19392 w 51323"/>
                <a:gd name="connsiteY264" fmla="*/ 4947 h 51323"/>
                <a:gd name="connsiteX265" fmla="*/ 19392 w 51323"/>
                <a:gd name="connsiteY265" fmla="*/ 4947 h 51323"/>
                <a:gd name="connsiteX266" fmla="*/ 19100 w 51323"/>
                <a:gd name="connsiteY266" fmla="*/ 5153 h 51323"/>
                <a:gd name="connsiteX267" fmla="*/ 19100 w 51323"/>
                <a:gd name="connsiteY267" fmla="*/ 5153 h 51323"/>
                <a:gd name="connsiteX268" fmla="*/ 18997 w 51323"/>
                <a:gd name="connsiteY268" fmla="*/ 5153 h 51323"/>
                <a:gd name="connsiteX269" fmla="*/ 18997 w 51323"/>
                <a:gd name="connsiteY269" fmla="*/ 5153 h 51323"/>
                <a:gd name="connsiteX270" fmla="*/ 18430 w 51323"/>
                <a:gd name="connsiteY270" fmla="*/ 5359 h 51323"/>
                <a:gd name="connsiteX271" fmla="*/ 18568 w 51323"/>
                <a:gd name="connsiteY271" fmla="*/ 5359 h 51323"/>
                <a:gd name="connsiteX272" fmla="*/ 18568 w 51323"/>
                <a:gd name="connsiteY272" fmla="*/ 5359 h 51323"/>
                <a:gd name="connsiteX273" fmla="*/ 19169 w 51323"/>
                <a:gd name="connsiteY273" fmla="*/ 5187 h 51323"/>
                <a:gd name="connsiteX274" fmla="*/ 19169 w 51323"/>
                <a:gd name="connsiteY274" fmla="*/ 5187 h 51323"/>
                <a:gd name="connsiteX275" fmla="*/ 19341 w 51323"/>
                <a:gd name="connsiteY275" fmla="*/ 5187 h 51323"/>
                <a:gd name="connsiteX276" fmla="*/ 19461 w 51323"/>
                <a:gd name="connsiteY276" fmla="*/ 5187 h 51323"/>
                <a:gd name="connsiteX277" fmla="*/ 19186 w 51323"/>
                <a:gd name="connsiteY277" fmla="*/ 5187 h 51323"/>
                <a:gd name="connsiteX278" fmla="*/ 19186 w 51323"/>
                <a:gd name="connsiteY278" fmla="*/ 5187 h 51323"/>
                <a:gd name="connsiteX279" fmla="*/ 19032 w 51323"/>
                <a:gd name="connsiteY279" fmla="*/ 5187 h 51323"/>
                <a:gd name="connsiteX280" fmla="*/ 19032 w 51323"/>
                <a:gd name="connsiteY280" fmla="*/ 5187 h 51323"/>
                <a:gd name="connsiteX281" fmla="*/ 18911 w 51323"/>
                <a:gd name="connsiteY281" fmla="*/ 5187 h 51323"/>
                <a:gd name="connsiteX282" fmla="*/ 18911 w 51323"/>
                <a:gd name="connsiteY282" fmla="*/ 5187 h 51323"/>
                <a:gd name="connsiteX283" fmla="*/ 18740 w 51323"/>
                <a:gd name="connsiteY283" fmla="*/ 5187 h 51323"/>
                <a:gd name="connsiteX284" fmla="*/ 18740 w 51323"/>
                <a:gd name="connsiteY284" fmla="*/ 5187 h 51323"/>
                <a:gd name="connsiteX285" fmla="*/ 18894 w 51323"/>
                <a:gd name="connsiteY285" fmla="*/ 5187 h 51323"/>
                <a:gd name="connsiteX286" fmla="*/ 18894 w 51323"/>
                <a:gd name="connsiteY286" fmla="*/ 5187 h 51323"/>
                <a:gd name="connsiteX287" fmla="*/ 19049 w 51323"/>
                <a:gd name="connsiteY287" fmla="*/ 5187 h 51323"/>
                <a:gd name="connsiteX288" fmla="*/ 19049 w 51323"/>
                <a:gd name="connsiteY288" fmla="*/ 5187 h 51323"/>
                <a:gd name="connsiteX289" fmla="*/ 18860 w 51323"/>
                <a:gd name="connsiteY289" fmla="*/ 5187 h 51323"/>
                <a:gd name="connsiteX290" fmla="*/ 19032 w 51323"/>
                <a:gd name="connsiteY290" fmla="*/ 5187 h 51323"/>
                <a:gd name="connsiteX291" fmla="*/ 19186 w 51323"/>
                <a:gd name="connsiteY291" fmla="*/ 5187 h 51323"/>
                <a:gd name="connsiteX292" fmla="*/ 19289 w 51323"/>
                <a:gd name="connsiteY292" fmla="*/ 5187 h 51323"/>
                <a:gd name="connsiteX293" fmla="*/ 19650 w 51323"/>
                <a:gd name="connsiteY293" fmla="*/ 5084 h 51323"/>
                <a:gd name="connsiteX294" fmla="*/ 18482 w 51323"/>
                <a:gd name="connsiteY294" fmla="*/ 5497 h 51323"/>
                <a:gd name="connsiteX295" fmla="*/ 18654 w 51323"/>
                <a:gd name="connsiteY295" fmla="*/ 5497 h 51323"/>
                <a:gd name="connsiteX296" fmla="*/ 18654 w 51323"/>
                <a:gd name="connsiteY296" fmla="*/ 5497 h 51323"/>
                <a:gd name="connsiteX297" fmla="*/ 18740 w 51323"/>
                <a:gd name="connsiteY297" fmla="*/ 5497 h 51323"/>
                <a:gd name="connsiteX298" fmla="*/ 18894 w 51323"/>
                <a:gd name="connsiteY298" fmla="*/ 5497 h 51323"/>
                <a:gd name="connsiteX299" fmla="*/ 18894 w 51323"/>
                <a:gd name="connsiteY299" fmla="*/ 5497 h 51323"/>
                <a:gd name="connsiteX300" fmla="*/ 19032 w 51323"/>
                <a:gd name="connsiteY300" fmla="*/ 5497 h 51323"/>
                <a:gd name="connsiteX301" fmla="*/ 18722 w 51323"/>
                <a:gd name="connsiteY301" fmla="*/ 5617 h 51323"/>
                <a:gd name="connsiteX302" fmla="*/ 18722 w 51323"/>
                <a:gd name="connsiteY302" fmla="*/ 5617 h 51323"/>
                <a:gd name="connsiteX303" fmla="*/ 18585 w 51323"/>
                <a:gd name="connsiteY303" fmla="*/ 5617 h 51323"/>
                <a:gd name="connsiteX304" fmla="*/ 18585 w 51323"/>
                <a:gd name="connsiteY304" fmla="*/ 5617 h 51323"/>
                <a:gd name="connsiteX305" fmla="*/ 18413 w 51323"/>
                <a:gd name="connsiteY305" fmla="*/ 5617 h 51323"/>
                <a:gd name="connsiteX306" fmla="*/ 18688 w 51323"/>
                <a:gd name="connsiteY306" fmla="*/ 5617 h 51323"/>
                <a:gd name="connsiteX307" fmla="*/ 17743 w 51323"/>
                <a:gd name="connsiteY307" fmla="*/ 6098 h 51323"/>
                <a:gd name="connsiteX308" fmla="*/ 17743 w 51323"/>
                <a:gd name="connsiteY308" fmla="*/ 6098 h 51323"/>
                <a:gd name="connsiteX309" fmla="*/ 17554 w 51323"/>
                <a:gd name="connsiteY309" fmla="*/ 6201 h 51323"/>
                <a:gd name="connsiteX310" fmla="*/ 17743 w 51323"/>
                <a:gd name="connsiteY310" fmla="*/ 6201 h 51323"/>
                <a:gd name="connsiteX311" fmla="*/ 17743 w 51323"/>
                <a:gd name="connsiteY311" fmla="*/ 6201 h 51323"/>
                <a:gd name="connsiteX312" fmla="*/ 17743 w 51323"/>
                <a:gd name="connsiteY312" fmla="*/ 6201 h 51323"/>
                <a:gd name="connsiteX313" fmla="*/ 17159 w 51323"/>
                <a:gd name="connsiteY313" fmla="*/ 6476 h 51323"/>
                <a:gd name="connsiteX314" fmla="*/ 17159 w 51323"/>
                <a:gd name="connsiteY314" fmla="*/ 6476 h 51323"/>
                <a:gd name="connsiteX315" fmla="*/ 17039 w 51323"/>
                <a:gd name="connsiteY315" fmla="*/ 6476 h 51323"/>
                <a:gd name="connsiteX316" fmla="*/ 17039 w 51323"/>
                <a:gd name="connsiteY316" fmla="*/ 6476 h 51323"/>
                <a:gd name="connsiteX317" fmla="*/ 16867 w 51323"/>
                <a:gd name="connsiteY317" fmla="*/ 6579 h 51323"/>
                <a:gd name="connsiteX318" fmla="*/ 16867 w 51323"/>
                <a:gd name="connsiteY318" fmla="*/ 6579 h 51323"/>
                <a:gd name="connsiteX319" fmla="*/ 16730 w 51323"/>
                <a:gd name="connsiteY319" fmla="*/ 6716 h 51323"/>
                <a:gd name="connsiteX320" fmla="*/ 16730 w 51323"/>
                <a:gd name="connsiteY320" fmla="*/ 6716 h 51323"/>
                <a:gd name="connsiteX321" fmla="*/ 16730 w 51323"/>
                <a:gd name="connsiteY321" fmla="*/ 6716 h 51323"/>
                <a:gd name="connsiteX322" fmla="*/ 16730 w 51323"/>
                <a:gd name="connsiteY322" fmla="*/ 6716 h 51323"/>
                <a:gd name="connsiteX323" fmla="*/ 16730 w 51323"/>
                <a:gd name="connsiteY323" fmla="*/ 6716 h 51323"/>
                <a:gd name="connsiteX324" fmla="*/ 16885 w 51323"/>
                <a:gd name="connsiteY324" fmla="*/ 6716 h 51323"/>
                <a:gd name="connsiteX325" fmla="*/ 16627 w 51323"/>
                <a:gd name="connsiteY325" fmla="*/ 6853 h 51323"/>
                <a:gd name="connsiteX326" fmla="*/ 16627 w 51323"/>
                <a:gd name="connsiteY326" fmla="*/ 6853 h 51323"/>
                <a:gd name="connsiteX327" fmla="*/ 16386 w 51323"/>
                <a:gd name="connsiteY327" fmla="*/ 6991 h 51323"/>
                <a:gd name="connsiteX328" fmla="*/ 16558 w 51323"/>
                <a:gd name="connsiteY328" fmla="*/ 6991 h 51323"/>
                <a:gd name="connsiteX329" fmla="*/ 16077 w 51323"/>
                <a:gd name="connsiteY329" fmla="*/ 7266 h 51323"/>
                <a:gd name="connsiteX330" fmla="*/ 16077 w 51323"/>
                <a:gd name="connsiteY330" fmla="*/ 7266 h 51323"/>
                <a:gd name="connsiteX331" fmla="*/ 16077 w 51323"/>
                <a:gd name="connsiteY331" fmla="*/ 7266 h 51323"/>
                <a:gd name="connsiteX332" fmla="*/ 16833 w 51323"/>
                <a:gd name="connsiteY332" fmla="*/ 6888 h 51323"/>
                <a:gd name="connsiteX333" fmla="*/ 16833 w 51323"/>
                <a:gd name="connsiteY333" fmla="*/ 6888 h 51323"/>
                <a:gd name="connsiteX334" fmla="*/ 16833 w 51323"/>
                <a:gd name="connsiteY334" fmla="*/ 6888 h 51323"/>
                <a:gd name="connsiteX335" fmla="*/ 16833 w 51323"/>
                <a:gd name="connsiteY335" fmla="*/ 6888 h 51323"/>
                <a:gd name="connsiteX336" fmla="*/ 16936 w 51323"/>
                <a:gd name="connsiteY336" fmla="*/ 6888 h 51323"/>
                <a:gd name="connsiteX337" fmla="*/ 16833 w 51323"/>
                <a:gd name="connsiteY337" fmla="*/ 6888 h 51323"/>
                <a:gd name="connsiteX338" fmla="*/ 17056 w 51323"/>
                <a:gd name="connsiteY338" fmla="*/ 6785 h 51323"/>
                <a:gd name="connsiteX339" fmla="*/ 17056 w 51323"/>
                <a:gd name="connsiteY339" fmla="*/ 6785 h 51323"/>
                <a:gd name="connsiteX340" fmla="*/ 17159 w 51323"/>
                <a:gd name="connsiteY340" fmla="*/ 6785 h 51323"/>
                <a:gd name="connsiteX341" fmla="*/ 17039 w 51323"/>
                <a:gd name="connsiteY341" fmla="*/ 6785 h 51323"/>
                <a:gd name="connsiteX342" fmla="*/ 17142 w 51323"/>
                <a:gd name="connsiteY342" fmla="*/ 6785 h 51323"/>
                <a:gd name="connsiteX343" fmla="*/ 17022 w 51323"/>
                <a:gd name="connsiteY343" fmla="*/ 6785 h 51323"/>
                <a:gd name="connsiteX344" fmla="*/ 17022 w 51323"/>
                <a:gd name="connsiteY344" fmla="*/ 6785 h 51323"/>
                <a:gd name="connsiteX345" fmla="*/ 16885 w 51323"/>
                <a:gd name="connsiteY345" fmla="*/ 6785 h 51323"/>
                <a:gd name="connsiteX346" fmla="*/ 17005 w 51323"/>
                <a:gd name="connsiteY346" fmla="*/ 6785 h 51323"/>
                <a:gd name="connsiteX347" fmla="*/ 17314 w 51323"/>
                <a:gd name="connsiteY347" fmla="*/ 6785 h 51323"/>
                <a:gd name="connsiteX348" fmla="*/ 17314 w 51323"/>
                <a:gd name="connsiteY348" fmla="*/ 6785 h 51323"/>
                <a:gd name="connsiteX349" fmla="*/ 16696 w 51323"/>
                <a:gd name="connsiteY349" fmla="*/ 7145 h 51323"/>
                <a:gd name="connsiteX350" fmla="*/ 16696 w 51323"/>
                <a:gd name="connsiteY350" fmla="*/ 7145 h 51323"/>
                <a:gd name="connsiteX351" fmla="*/ 16696 w 51323"/>
                <a:gd name="connsiteY351" fmla="*/ 7145 h 51323"/>
                <a:gd name="connsiteX352" fmla="*/ 16696 w 51323"/>
                <a:gd name="connsiteY352" fmla="*/ 7145 h 51323"/>
                <a:gd name="connsiteX353" fmla="*/ 16696 w 51323"/>
                <a:gd name="connsiteY353" fmla="*/ 7145 h 51323"/>
                <a:gd name="connsiteX354" fmla="*/ 16696 w 51323"/>
                <a:gd name="connsiteY354" fmla="*/ 7145 h 51323"/>
                <a:gd name="connsiteX355" fmla="*/ 16696 w 51323"/>
                <a:gd name="connsiteY355" fmla="*/ 7145 h 51323"/>
                <a:gd name="connsiteX356" fmla="*/ 16455 w 51323"/>
                <a:gd name="connsiteY356" fmla="*/ 7300 h 51323"/>
                <a:gd name="connsiteX357" fmla="*/ 16455 w 51323"/>
                <a:gd name="connsiteY357" fmla="*/ 7300 h 51323"/>
                <a:gd name="connsiteX358" fmla="*/ 16455 w 51323"/>
                <a:gd name="connsiteY358" fmla="*/ 7386 h 51323"/>
                <a:gd name="connsiteX359" fmla="*/ 16610 w 51323"/>
                <a:gd name="connsiteY359" fmla="*/ 7386 h 51323"/>
                <a:gd name="connsiteX360" fmla="*/ 16610 w 51323"/>
                <a:gd name="connsiteY360" fmla="*/ 7386 h 51323"/>
                <a:gd name="connsiteX361" fmla="*/ 16610 w 51323"/>
                <a:gd name="connsiteY361" fmla="*/ 7489 h 51323"/>
                <a:gd name="connsiteX362" fmla="*/ 16610 w 51323"/>
                <a:gd name="connsiteY362" fmla="*/ 7489 h 51323"/>
                <a:gd name="connsiteX363" fmla="*/ 16610 w 51323"/>
                <a:gd name="connsiteY363" fmla="*/ 7489 h 51323"/>
                <a:gd name="connsiteX364" fmla="*/ 16610 w 51323"/>
                <a:gd name="connsiteY364" fmla="*/ 7592 h 51323"/>
                <a:gd name="connsiteX365" fmla="*/ 16970 w 51323"/>
                <a:gd name="connsiteY365" fmla="*/ 7334 h 51323"/>
                <a:gd name="connsiteX366" fmla="*/ 16970 w 51323"/>
                <a:gd name="connsiteY366" fmla="*/ 7334 h 51323"/>
                <a:gd name="connsiteX367" fmla="*/ 17108 w 51323"/>
                <a:gd name="connsiteY367" fmla="*/ 7334 h 51323"/>
                <a:gd name="connsiteX368" fmla="*/ 17245 w 51323"/>
                <a:gd name="connsiteY368" fmla="*/ 7334 h 51323"/>
                <a:gd name="connsiteX369" fmla="*/ 17142 w 51323"/>
                <a:gd name="connsiteY369" fmla="*/ 7334 h 51323"/>
                <a:gd name="connsiteX370" fmla="*/ 17142 w 51323"/>
                <a:gd name="connsiteY370" fmla="*/ 7334 h 51323"/>
                <a:gd name="connsiteX371" fmla="*/ 16988 w 51323"/>
                <a:gd name="connsiteY371" fmla="*/ 7437 h 51323"/>
                <a:gd name="connsiteX372" fmla="*/ 16988 w 51323"/>
                <a:gd name="connsiteY372" fmla="*/ 7437 h 51323"/>
                <a:gd name="connsiteX373" fmla="*/ 16867 w 51323"/>
                <a:gd name="connsiteY373" fmla="*/ 7437 h 51323"/>
                <a:gd name="connsiteX374" fmla="*/ 16610 w 51323"/>
                <a:gd name="connsiteY374" fmla="*/ 7575 h 51323"/>
                <a:gd name="connsiteX375" fmla="*/ 16610 w 51323"/>
                <a:gd name="connsiteY375" fmla="*/ 7575 h 51323"/>
                <a:gd name="connsiteX376" fmla="*/ 16421 w 51323"/>
                <a:gd name="connsiteY376" fmla="*/ 7678 h 51323"/>
                <a:gd name="connsiteX377" fmla="*/ 16421 w 51323"/>
                <a:gd name="connsiteY377" fmla="*/ 7678 h 51323"/>
                <a:gd name="connsiteX378" fmla="*/ 16283 w 51323"/>
                <a:gd name="connsiteY378" fmla="*/ 7678 h 51323"/>
                <a:gd name="connsiteX379" fmla="*/ 16283 w 51323"/>
                <a:gd name="connsiteY379" fmla="*/ 7678 h 51323"/>
                <a:gd name="connsiteX380" fmla="*/ 16283 w 51323"/>
                <a:gd name="connsiteY380" fmla="*/ 7678 h 51323"/>
                <a:gd name="connsiteX381" fmla="*/ 16129 w 51323"/>
                <a:gd name="connsiteY381" fmla="*/ 7678 h 51323"/>
                <a:gd name="connsiteX382" fmla="*/ 16129 w 51323"/>
                <a:gd name="connsiteY382" fmla="*/ 7678 h 51323"/>
                <a:gd name="connsiteX383" fmla="*/ 16129 w 51323"/>
                <a:gd name="connsiteY383" fmla="*/ 7678 h 51323"/>
                <a:gd name="connsiteX384" fmla="*/ 16129 w 51323"/>
                <a:gd name="connsiteY384" fmla="*/ 7678 h 51323"/>
                <a:gd name="connsiteX385" fmla="*/ 15820 w 51323"/>
                <a:gd name="connsiteY385" fmla="*/ 7867 h 51323"/>
                <a:gd name="connsiteX386" fmla="*/ 16043 w 51323"/>
                <a:gd name="connsiteY386" fmla="*/ 7747 h 51323"/>
                <a:gd name="connsiteX387" fmla="*/ 16043 w 51323"/>
                <a:gd name="connsiteY387" fmla="*/ 7747 h 51323"/>
                <a:gd name="connsiteX388" fmla="*/ 16318 w 51323"/>
                <a:gd name="connsiteY388" fmla="*/ 7644 h 51323"/>
                <a:gd name="connsiteX389" fmla="*/ 16198 w 51323"/>
                <a:gd name="connsiteY389" fmla="*/ 7644 h 51323"/>
                <a:gd name="connsiteX390" fmla="*/ 16747 w 51323"/>
                <a:gd name="connsiteY390" fmla="*/ 7352 h 51323"/>
                <a:gd name="connsiteX391" fmla="*/ 16747 w 51323"/>
                <a:gd name="connsiteY391" fmla="*/ 7352 h 51323"/>
                <a:gd name="connsiteX392" fmla="*/ 16747 w 51323"/>
                <a:gd name="connsiteY392" fmla="*/ 7352 h 51323"/>
                <a:gd name="connsiteX393" fmla="*/ 17400 w 51323"/>
                <a:gd name="connsiteY393" fmla="*/ 7077 h 51323"/>
                <a:gd name="connsiteX394" fmla="*/ 17262 w 51323"/>
                <a:gd name="connsiteY394" fmla="*/ 7077 h 51323"/>
                <a:gd name="connsiteX395" fmla="*/ 17262 w 51323"/>
                <a:gd name="connsiteY395" fmla="*/ 7077 h 51323"/>
                <a:gd name="connsiteX396" fmla="*/ 17520 w 51323"/>
                <a:gd name="connsiteY396" fmla="*/ 6991 h 51323"/>
                <a:gd name="connsiteX397" fmla="*/ 17846 w 51323"/>
                <a:gd name="connsiteY397" fmla="*/ 6768 h 51323"/>
                <a:gd name="connsiteX398" fmla="*/ 17846 w 51323"/>
                <a:gd name="connsiteY398" fmla="*/ 6768 h 51323"/>
                <a:gd name="connsiteX399" fmla="*/ 17846 w 51323"/>
                <a:gd name="connsiteY399" fmla="*/ 6768 h 51323"/>
                <a:gd name="connsiteX400" fmla="*/ 18482 w 51323"/>
                <a:gd name="connsiteY400" fmla="*/ 6476 h 51323"/>
                <a:gd name="connsiteX401" fmla="*/ 18482 w 51323"/>
                <a:gd name="connsiteY401" fmla="*/ 6476 h 51323"/>
                <a:gd name="connsiteX402" fmla="*/ 19066 w 51323"/>
                <a:gd name="connsiteY402" fmla="*/ 6235 h 51323"/>
                <a:gd name="connsiteX403" fmla="*/ 18911 w 51323"/>
                <a:gd name="connsiteY403" fmla="*/ 6321 h 51323"/>
                <a:gd name="connsiteX404" fmla="*/ 19427 w 51323"/>
                <a:gd name="connsiteY404" fmla="*/ 6115 h 51323"/>
                <a:gd name="connsiteX405" fmla="*/ 19238 w 51323"/>
                <a:gd name="connsiteY405" fmla="*/ 6252 h 51323"/>
                <a:gd name="connsiteX406" fmla="*/ 20303 w 51323"/>
                <a:gd name="connsiteY406" fmla="*/ 5909 h 51323"/>
                <a:gd name="connsiteX407" fmla="*/ 21024 w 51323"/>
                <a:gd name="connsiteY407" fmla="*/ 5651 h 51323"/>
                <a:gd name="connsiteX408" fmla="*/ 20303 w 51323"/>
                <a:gd name="connsiteY408" fmla="*/ 6149 h 51323"/>
                <a:gd name="connsiteX409" fmla="*/ 20303 w 51323"/>
                <a:gd name="connsiteY409" fmla="*/ 6149 h 51323"/>
                <a:gd name="connsiteX410" fmla="*/ 20406 w 51323"/>
                <a:gd name="connsiteY410" fmla="*/ 6149 h 51323"/>
                <a:gd name="connsiteX411" fmla="*/ 20492 w 51323"/>
                <a:gd name="connsiteY411" fmla="*/ 6235 h 51323"/>
                <a:gd name="connsiteX412" fmla="*/ 20354 w 51323"/>
                <a:gd name="connsiteY412" fmla="*/ 6235 h 51323"/>
                <a:gd name="connsiteX413" fmla="*/ 20165 w 51323"/>
                <a:gd name="connsiteY413" fmla="*/ 6355 h 51323"/>
                <a:gd name="connsiteX414" fmla="*/ 20337 w 51323"/>
                <a:gd name="connsiteY414" fmla="*/ 6355 h 51323"/>
                <a:gd name="connsiteX415" fmla="*/ 19856 w 51323"/>
                <a:gd name="connsiteY415" fmla="*/ 6716 h 51323"/>
                <a:gd name="connsiteX416" fmla="*/ 20097 w 51323"/>
                <a:gd name="connsiteY416" fmla="*/ 6716 h 51323"/>
                <a:gd name="connsiteX417" fmla="*/ 19667 w 51323"/>
                <a:gd name="connsiteY417" fmla="*/ 6939 h 51323"/>
                <a:gd name="connsiteX418" fmla="*/ 19495 w 51323"/>
                <a:gd name="connsiteY418" fmla="*/ 7145 h 51323"/>
                <a:gd name="connsiteX419" fmla="*/ 19358 w 51323"/>
                <a:gd name="connsiteY419" fmla="*/ 7266 h 51323"/>
                <a:gd name="connsiteX420" fmla="*/ 19358 w 51323"/>
                <a:gd name="connsiteY420" fmla="*/ 7352 h 51323"/>
                <a:gd name="connsiteX421" fmla="*/ 19358 w 51323"/>
                <a:gd name="connsiteY421" fmla="*/ 7523 h 51323"/>
                <a:gd name="connsiteX422" fmla="*/ 19049 w 51323"/>
                <a:gd name="connsiteY422" fmla="*/ 7626 h 51323"/>
                <a:gd name="connsiteX423" fmla="*/ 18860 w 51323"/>
                <a:gd name="connsiteY423" fmla="*/ 7918 h 51323"/>
                <a:gd name="connsiteX424" fmla="*/ 18860 w 51323"/>
                <a:gd name="connsiteY424" fmla="*/ 8039 h 51323"/>
                <a:gd name="connsiteX425" fmla="*/ 18705 w 51323"/>
                <a:gd name="connsiteY425" fmla="*/ 8399 h 51323"/>
                <a:gd name="connsiteX426" fmla="*/ 18551 w 51323"/>
                <a:gd name="connsiteY426" fmla="*/ 8588 h 51323"/>
                <a:gd name="connsiteX427" fmla="*/ 18396 w 51323"/>
                <a:gd name="connsiteY427" fmla="*/ 8829 h 51323"/>
                <a:gd name="connsiteX428" fmla="*/ 18190 w 51323"/>
                <a:gd name="connsiteY428" fmla="*/ 8966 h 51323"/>
                <a:gd name="connsiteX429" fmla="*/ 18190 w 51323"/>
                <a:gd name="connsiteY429" fmla="*/ 8966 h 51323"/>
                <a:gd name="connsiteX430" fmla="*/ 17846 w 51323"/>
                <a:gd name="connsiteY430" fmla="*/ 9155 h 51323"/>
                <a:gd name="connsiteX431" fmla="*/ 18224 w 51323"/>
                <a:gd name="connsiteY431" fmla="*/ 8605 h 51323"/>
                <a:gd name="connsiteX432" fmla="*/ 18224 w 51323"/>
                <a:gd name="connsiteY432" fmla="*/ 8434 h 51323"/>
                <a:gd name="connsiteX433" fmla="*/ 18053 w 51323"/>
                <a:gd name="connsiteY433" fmla="*/ 8434 h 51323"/>
                <a:gd name="connsiteX434" fmla="*/ 17486 w 51323"/>
                <a:gd name="connsiteY434" fmla="*/ 9155 h 51323"/>
                <a:gd name="connsiteX435" fmla="*/ 16747 w 51323"/>
                <a:gd name="connsiteY435" fmla="*/ 9842 h 51323"/>
                <a:gd name="connsiteX436" fmla="*/ 16747 w 51323"/>
                <a:gd name="connsiteY436" fmla="*/ 9396 h 51323"/>
                <a:gd name="connsiteX437" fmla="*/ 16524 w 51323"/>
                <a:gd name="connsiteY437" fmla="*/ 10306 h 51323"/>
                <a:gd name="connsiteX438" fmla="*/ 16799 w 51323"/>
                <a:gd name="connsiteY438" fmla="*/ 9069 h 51323"/>
                <a:gd name="connsiteX439" fmla="*/ 16558 w 51323"/>
                <a:gd name="connsiteY439" fmla="*/ 9069 h 51323"/>
                <a:gd name="connsiteX440" fmla="*/ 16301 w 51323"/>
                <a:gd name="connsiteY440" fmla="*/ 9069 h 51323"/>
                <a:gd name="connsiteX441" fmla="*/ 16850 w 51323"/>
                <a:gd name="connsiteY441" fmla="*/ 8794 h 51323"/>
                <a:gd name="connsiteX442" fmla="*/ 19530 w 51323"/>
                <a:gd name="connsiteY442" fmla="*/ 6733 h 51323"/>
                <a:gd name="connsiteX443" fmla="*/ 18980 w 51323"/>
                <a:gd name="connsiteY443" fmla="*/ 6733 h 51323"/>
                <a:gd name="connsiteX444" fmla="*/ 18980 w 51323"/>
                <a:gd name="connsiteY444" fmla="*/ 6561 h 51323"/>
                <a:gd name="connsiteX445" fmla="*/ 18980 w 51323"/>
                <a:gd name="connsiteY445" fmla="*/ 6373 h 51323"/>
                <a:gd name="connsiteX446" fmla="*/ 19083 w 51323"/>
                <a:gd name="connsiteY446" fmla="*/ 6373 h 51323"/>
                <a:gd name="connsiteX447" fmla="*/ 18929 w 51323"/>
                <a:gd name="connsiteY447" fmla="*/ 6458 h 51323"/>
                <a:gd name="connsiteX448" fmla="*/ 18173 w 51323"/>
                <a:gd name="connsiteY448" fmla="*/ 6871 h 51323"/>
                <a:gd name="connsiteX449" fmla="*/ 18173 w 51323"/>
                <a:gd name="connsiteY449" fmla="*/ 6871 h 51323"/>
                <a:gd name="connsiteX450" fmla="*/ 18293 w 51323"/>
                <a:gd name="connsiteY450" fmla="*/ 6871 h 51323"/>
                <a:gd name="connsiteX451" fmla="*/ 18242 w 51323"/>
                <a:gd name="connsiteY451" fmla="*/ 6871 h 51323"/>
                <a:gd name="connsiteX452" fmla="*/ 18242 w 51323"/>
                <a:gd name="connsiteY452" fmla="*/ 6871 h 51323"/>
                <a:gd name="connsiteX453" fmla="*/ 17898 w 51323"/>
                <a:gd name="connsiteY453" fmla="*/ 7025 h 51323"/>
                <a:gd name="connsiteX454" fmla="*/ 17898 w 51323"/>
                <a:gd name="connsiteY454" fmla="*/ 7025 h 51323"/>
                <a:gd name="connsiteX455" fmla="*/ 17898 w 51323"/>
                <a:gd name="connsiteY455" fmla="*/ 7025 h 51323"/>
                <a:gd name="connsiteX456" fmla="*/ 18001 w 51323"/>
                <a:gd name="connsiteY456" fmla="*/ 7025 h 51323"/>
                <a:gd name="connsiteX457" fmla="*/ 18001 w 51323"/>
                <a:gd name="connsiteY457" fmla="*/ 7025 h 51323"/>
                <a:gd name="connsiteX458" fmla="*/ 18001 w 51323"/>
                <a:gd name="connsiteY458" fmla="*/ 7025 h 51323"/>
                <a:gd name="connsiteX459" fmla="*/ 17829 w 51323"/>
                <a:gd name="connsiteY459" fmla="*/ 7025 h 51323"/>
                <a:gd name="connsiteX460" fmla="*/ 17829 w 51323"/>
                <a:gd name="connsiteY460" fmla="*/ 7025 h 51323"/>
                <a:gd name="connsiteX461" fmla="*/ 17829 w 51323"/>
                <a:gd name="connsiteY461" fmla="*/ 7025 h 51323"/>
                <a:gd name="connsiteX462" fmla="*/ 17177 w 51323"/>
                <a:gd name="connsiteY462" fmla="*/ 7437 h 51323"/>
                <a:gd name="connsiteX463" fmla="*/ 17434 w 51323"/>
                <a:gd name="connsiteY463" fmla="*/ 7334 h 51323"/>
                <a:gd name="connsiteX464" fmla="*/ 17434 w 51323"/>
                <a:gd name="connsiteY464" fmla="*/ 7334 h 51323"/>
                <a:gd name="connsiteX465" fmla="*/ 17864 w 51323"/>
                <a:gd name="connsiteY465" fmla="*/ 7111 h 51323"/>
                <a:gd name="connsiteX466" fmla="*/ 17331 w 51323"/>
                <a:gd name="connsiteY466" fmla="*/ 7489 h 51323"/>
                <a:gd name="connsiteX467" fmla="*/ 17331 w 51323"/>
                <a:gd name="connsiteY467" fmla="*/ 7489 h 51323"/>
                <a:gd name="connsiteX468" fmla="*/ 16644 w 51323"/>
                <a:gd name="connsiteY468" fmla="*/ 7970 h 51323"/>
                <a:gd name="connsiteX469" fmla="*/ 16799 w 51323"/>
                <a:gd name="connsiteY469" fmla="*/ 7884 h 51323"/>
                <a:gd name="connsiteX470" fmla="*/ 16799 w 51323"/>
                <a:gd name="connsiteY470" fmla="*/ 7884 h 51323"/>
                <a:gd name="connsiteX471" fmla="*/ 17675 w 51323"/>
                <a:gd name="connsiteY471" fmla="*/ 7437 h 51323"/>
                <a:gd name="connsiteX472" fmla="*/ 17675 w 51323"/>
                <a:gd name="connsiteY472" fmla="*/ 7437 h 51323"/>
                <a:gd name="connsiteX473" fmla="*/ 17675 w 51323"/>
                <a:gd name="connsiteY473" fmla="*/ 7437 h 51323"/>
                <a:gd name="connsiteX474" fmla="*/ 17812 w 51323"/>
                <a:gd name="connsiteY474" fmla="*/ 7352 h 51323"/>
                <a:gd name="connsiteX475" fmla="*/ 17812 w 51323"/>
                <a:gd name="connsiteY475" fmla="*/ 7352 h 51323"/>
                <a:gd name="connsiteX476" fmla="*/ 17932 w 51323"/>
                <a:gd name="connsiteY476" fmla="*/ 7352 h 51323"/>
                <a:gd name="connsiteX477" fmla="*/ 17932 w 51323"/>
                <a:gd name="connsiteY477" fmla="*/ 7352 h 51323"/>
                <a:gd name="connsiteX478" fmla="*/ 18362 w 51323"/>
                <a:gd name="connsiteY478" fmla="*/ 7111 h 51323"/>
                <a:gd name="connsiteX479" fmla="*/ 18362 w 51323"/>
                <a:gd name="connsiteY479" fmla="*/ 7266 h 51323"/>
                <a:gd name="connsiteX480" fmla="*/ 18362 w 51323"/>
                <a:gd name="connsiteY480" fmla="*/ 7266 h 51323"/>
                <a:gd name="connsiteX481" fmla="*/ 18242 w 51323"/>
                <a:gd name="connsiteY481" fmla="*/ 7386 h 51323"/>
                <a:gd name="connsiteX482" fmla="*/ 18104 w 51323"/>
                <a:gd name="connsiteY482" fmla="*/ 7489 h 51323"/>
                <a:gd name="connsiteX483" fmla="*/ 17898 w 51323"/>
                <a:gd name="connsiteY483" fmla="*/ 7626 h 51323"/>
                <a:gd name="connsiteX484" fmla="*/ 17898 w 51323"/>
                <a:gd name="connsiteY484" fmla="*/ 7626 h 51323"/>
                <a:gd name="connsiteX485" fmla="*/ 17898 w 51323"/>
                <a:gd name="connsiteY485" fmla="*/ 7626 h 51323"/>
                <a:gd name="connsiteX486" fmla="*/ 17692 w 51323"/>
                <a:gd name="connsiteY486" fmla="*/ 7626 h 51323"/>
                <a:gd name="connsiteX487" fmla="*/ 17692 w 51323"/>
                <a:gd name="connsiteY487" fmla="*/ 7626 h 51323"/>
                <a:gd name="connsiteX488" fmla="*/ 17537 w 51323"/>
                <a:gd name="connsiteY488" fmla="*/ 7729 h 51323"/>
                <a:gd name="connsiteX489" fmla="*/ 17537 w 51323"/>
                <a:gd name="connsiteY489" fmla="*/ 7729 h 51323"/>
                <a:gd name="connsiteX490" fmla="*/ 17537 w 51323"/>
                <a:gd name="connsiteY490" fmla="*/ 7729 h 51323"/>
                <a:gd name="connsiteX491" fmla="*/ 16438 w 51323"/>
                <a:gd name="connsiteY491" fmla="*/ 8296 h 51323"/>
                <a:gd name="connsiteX492" fmla="*/ 16524 w 51323"/>
                <a:gd name="connsiteY492" fmla="*/ 8245 h 51323"/>
                <a:gd name="connsiteX493" fmla="*/ 16524 w 51323"/>
                <a:gd name="connsiteY493" fmla="*/ 8245 h 51323"/>
                <a:gd name="connsiteX494" fmla="*/ 16661 w 51323"/>
                <a:gd name="connsiteY494" fmla="*/ 8125 h 51323"/>
                <a:gd name="connsiteX495" fmla="*/ 16661 w 51323"/>
                <a:gd name="connsiteY495" fmla="*/ 8125 h 51323"/>
                <a:gd name="connsiteX496" fmla="*/ 16661 w 51323"/>
                <a:gd name="connsiteY496" fmla="*/ 8125 h 51323"/>
                <a:gd name="connsiteX497" fmla="*/ 16301 w 51323"/>
                <a:gd name="connsiteY497" fmla="*/ 8451 h 51323"/>
                <a:gd name="connsiteX498" fmla="*/ 16404 w 51323"/>
                <a:gd name="connsiteY498" fmla="*/ 8296 h 51323"/>
                <a:gd name="connsiteX499" fmla="*/ 16283 w 51323"/>
                <a:gd name="connsiteY499" fmla="*/ 8399 h 51323"/>
                <a:gd name="connsiteX500" fmla="*/ 16283 w 51323"/>
                <a:gd name="connsiteY500" fmla="*/ 8399 h 51323"/>
                <a:gd name="connsiteX501" fmla="*/ 16283 w 51323"/>
                <a:gd name="connsiteY501" fmla="*/ 8399 h 51323"/>
                <a:gd name="connsiteX502" fmla="*/ 16438 w 51323"/>
                <a:gd name="connsiteY502" fmla="*/ 8279 h 51323"/>
                <a:gd name="connsiteX503" fmla="*/ 16438 w 51323"/>
                <a:gd name="connsiteY503" fmla="*/ 8279 h 51323"/>
                <a:gd name="connsiteX504" fmla="*/ 16438 w 51323"/>
                <a:gd name="connsiteY504" fmla="*/ 8279 h 51323"/>
                <a:gd name="connsiteX505" fmla="*/ 16438 w 51323"/>
                <a:gd name="connsiteY505" fmla="*/ 8279 h 51323"/>
                <a:gd name="connsiteX506" fmla="*/ 15837 w 51323"/>
                <a:gd name="connsiteY506" fmla="*/ 8657 h 51323"/>
                <a:gd name="connsiteX507" fmla="*/ 15837 w 51323"/>
                <a:gd name="connsiteY507" fmla="*/ 8657 h 51323"/>
                <a:gd name="connsiteX508" fmla="*/ 15837 w 51323"/>
                <a:gd name="connsiteY508" fmla="*/ 8365 h 51323"/>
                <a:gd name="connsiteX509" fmla="*/ 15287 w 51323"/>
                <a:gd name="connsiteY509" fmla="*/ 8932 h 51323"/>
                <a:gd name="connsiteX510" fmla="*/ 15287 w 51323"/>
                <a:gd name="connsiteY510" fmla="*/ 8932 h 51323"/>
                <a:gd name="connsiteX511" fmla="*/ 14841 w 51323"/>
                <a:gd name="connsiteY511" fmla="*/ 9138 h 51323"/>
                <a:gd name="connsiteX512" fmla="*/ 14841 w 51323"/>
                <a:gd name="connsiteY512" fmla="*/ 9138 h 51323"/>
                <a:gd name="connsiteX513" fmla="*/ 14841 w 51323"/>
                <a:gd name="connsiteY513" fmla="*/ 9138 h 51323"/>
                <a:gd name="connsiteX514" fmla="*/ 14841 w 51323"/>
                <a:gd name="connsiteY514" fmla="*/ 9138 h 51323"/>
                <a:gd name="connsiteX515" fmla="*/ 14961 w 51323"/>
                <a:gd name="connsiteY515" fmla="*/ 9035 h 51323"/>
                <a:gd name="connsiteX516" fmla="*/ 14806 w 51323"/>
                <a:gd name="connsiteY516" fmla="*/ 9121 h 51323"/>
                <a:gd name="connsiteX517" fmla="*/ 14909 w 51323"/>
                <a:gd name="connsiteY517" fmla="*/ 9018 h 51323"/>
                <a:gd name="connsiteX518" fmla="*/ 14686 w 51323"/>
                <a:gd name="connsiteY518" fmla="*/ 9138 h 51323"/>
                <a:gd name="connsiteX519" fmla="*/ 14531 w 51323"/>
                <a:gd name="connsiteY519" fmla="*/ 9258 h 51323"/>
                <a:gd name="connsiteX520" fmla="*/ 14789 w 51323"/>
                <a:gd name="connsiteY520" fmla="*/ 8846 h 51323"/>
                <a:gd name="connsiteX521" fmla="*/ 14789 w 51323"/>
                <a:gd name="connsiteY521" fmla="*/ 8846 h 51323"/>
                <a:gd name="connsiteX522" fmla="*/ 14789 w 51323"/>
                <a:gd name="connsiteY522" fmla="*/ 8846 h 51323"/>
                <a:gd name="connsiteX523" fmla="*/ 14703 w 51323"/>
                <a:gd name="connsiteY523" fmla="*/ 8949 h 51323"/>
                <a:gd name="connsiteX524" fmla="*/ 14549 w 51323"/>
                <a:gd name="connsiteY524" fmla="*/ 9121 h 51323"/>
                <a:gd name="connsiteX525" fmla="*/ 14686 w 51323"/>
                <a:gd name="connsiteY525" fmla="*/ 9121 h 51323"/>
                <a:gd name="connsiteX526" fmla="*/ 14411 w 51323"/>
                <a:gd name="connsiteY526" fmla="*/ 9121 h 51323"/>
                <a:gd name="connsiteX527" fmla="*/ 14085 w 51323"/>
                <a:gd name="connsiteY527" fmla="*/ 9447 h 51323"/>
                <a:gd name="connsiteX528" fmla="*/ 14085 w 51323"/>
                <a:gd name="connsiteY528" fmla="*/ 9447 h 51323"/>
                <a:gd name="connsiteX529" fmla="*/ 14085 w 51323"/>
                <a:gd name="connsiteY529" fmla="*/ 9447 h 51323"/>
                <a:gd name="connsiteX530" fmla="*/ 14085 w 51323"/>
                <a:gd name="connsiteY530" fmla="*/ 9447 h 51323"/>
                <a:gd name="connsiteX531" fmla="*/ 13930 w 51323"/>
                <a:gd name="connsiteY531" fmla="*/ 9585 h 51323"/>
                <a:gd name="connsiteX532" fmla="*/ 13930 w 51323"/>
                <a:gd name="connsiteY532" fmla="*/ 9585 h 51323"/>
                <a:gd name="connsiteX533" fmla="*/ 13776 w 51323"/>
                <a:gd name="connsiteY533" fmla="*/ 9585 h 51323"/>
                <a:gd name="connsiteX534" fmla="*/ 13123 w 51323"/>
                <a:gd name="connsiteY534" fmla="*/ 9945 h 51323"/>
                <a:gd name="connsiteX535" fmla="*/ 13123 w 51323"/>
                <a:gd name="connsiteY535" fmla="*/ 9945 h 51323"/>
                <a:gd name="connsiteX536" fmla="*/ 11903 w 51323"/>
                <a:gd name="connsiteY536" fmla="*/ 10907 h 51323"/>
                <a:gd name="connsiteX537" fmla="*/ 11525 w 51323"/>
                <a:gd name="connsiteY537" fmla="*/ 11405 h 51323"/>
                <a:gd name="connsiteX538" fmla="*/ 11525 w 51323"/>
                <a:gd name="connsiteY538" fmla="*/ 12092 h 51323"/>
                <a:gd name="connsiteX539" fmla="*/ 11525 w 51323"/>
                <a:gd name="connsiteY539" fmla="*/ 12092 h 51323"/>
                <a:gd name="connsiteX540" fmla="*/ 11405 w 51323"/>
                <a:gd name="connsiteY540" fmla="*/ 12556 h 51323"/>
                <a:gd name="connsiteX541" fmla="*/ 11629 w 51323"/>
                <a:gd name="connsiteY541" fmla="*/ 12693 h 51323"/>
                <a:gd name="connsiteX542" fmla="*/ 11629 w 51323"/>
                <a:gd name="connsiteY542" fmla="*/ 12693 h 51323"/>
                <a:gd name="connsiteX543" fmla="*/ 10392 w 51323"/>
                <a:gd name="connsiteY543" fmla="*/ 14325 h 51323"/>
                <a:gd name="connsiteX544" fmla="*/ 10753 w 51323"/>
                <a:gd name="connsiteY544" fmla="*/ 14188 h 51323"/>
                <a:gd name="connsiteX545" fmla="*/ 10649 w 51323"/>
                <a:gd name="connsiteY545" fmla="*/ 14514 h 51323"/>
                <a:gd name="connsiteX546" fmla="*/ 12608 w 51323"/>
                <a:gd name="connsiteY546" fmla="*/ 12590 h 51323"/>
                <a:gd name="connsiteX547" fmla="*/ 13999 w 51323"/>
                <a:gd name="connsiteY547" fmla="*/ 11148 h 51323"/>
                <a:gd name="connsiteX548" fmla="*/ 13999 w 51323"/>
                <a:gd name="connsiteY548" fmla="*/ 11148 h 51323"/>
                <a:gd name="connsiteX549" fmla="*/ 14205 w 51323"/>
                <a:gd name="connsiteY549" fmla="*/ 10976 h 51323"/>
                <a:gd name="connsiteX550" fmla="*/ 14325 w 51323"/>
                <a:gd name="connsiteY550" fmla="*/ 10856 h 51323"/>
                <a:gd name="connsiteX551" fmla="*/ 15081 w 51323"/>
                <a:gd name="connsiteY551" fmla="*/ 10409 h 51323"/>
                <a:gd name="connsiteX552" fmla="*/ 15201 w 51323"/>
                <a:gd name="connsiteY552" fmla="*/ 10409 h 51323"/>
                <a:gd name="connsiteX553" fmla="*/ 15201 w 51323"/>
                <a:gd name="connsiteY553" fmla="*/ 10409 h 51323"/>
                <a:gd name="connsiteX554" fmla="*/ 15304 w 51323"/>
                <a:gd name="connsiteY554" fmla="*/ 10564 h 51323"/>
                <a:gd name="connsiteX555" fmla="*/ 15167 w 51323"/>
                <a:gd name="connsiteY555" fmla="*/ 10701 h 51323"/>
                <a:gd name="connsiteX556" fmla="*/ 15167 w 51323"/>
                <a:gd name="connsiteY556" fmla="*/ 10701 h 51323"/>
                <a:gd name="connsiteX557" fmla="*/ 15167 w 51323"/>
                <a:gd name="connsiteY557" fmla="*/ 10856 h 51323"/>
                <a:gd name="connsiteX558" fmla="*/ 15167 w 51323"/>
                <a:gd name="connsiteY558" fmla="*/ 10856 h 51323"/>
                <a:gd name="connsiteX559" fmla="*/ 15167 w 51323"/>
                <a:gd name="connsiteY559" fmla="*/ 10941 h 51323"/>
                <a:gd name="connsiteX560" fmla="*/ 15167 w 51323"/>
                <a:gd name="connsiteY560" fmla="*/ 10941 h 51323"/>
                <a:gd name="connsiteX561" fmla="*/ 15047 w 51323"/>
                <a:gd name="connsiteY561" fmla="*/ 11079 h 51323"/>
                <a:gd name="connsiteX562" fmla="*/ 15047 w 51323"/>
                <a:gd name="connsiteY562" fmla="*/ 11079 h 51323"/>
                <a:gd name="connsiteX563" fmla="*/ 15047 w 51323"/>
                <a:gd name="connsiteY563" fmla="*/ 11079 h 51323"/>
                <a:gd name="connsiteX564" fmla="*/ 15047 w 51323"/>
                <a:gd name="connsiteY564" fmla="*/ 11079 h 51323"/>
                <a:gd name="connsiteX565" fmla="*/ 15047 w 51323"/>
                <a:gd name="connsiteY565" fmla="*/ 11079 h 51323"/>
                <a:gd name="connsiteX566" fmla="*/ 15047 w 51323"/>
                <a:gd name="connsiteY566" fmla="*/ 11079 h 51323"/>
                <a:gd name="connsiteX567" fmla="*/ 15047 w 51323"/>
                <a:gd name="connsiteY567" fmla="*/ 11216 h 51323"/>
                <a:gd name="connsiteX568" fmla="*/ 15201 w 51323"/>
                <a:gd name="connsiteY568" fmla="*/ 11130 h 51323"/>
                <a:gd name="connsiteX569" fmla="*/ 14789 w 51323"/>
                <a:gd name="connsiteY569" fmla="*/ 11508 h 51323"/>
                <a:gd name="connsiteX570" fmla="*/ 14789 w 51323"/>
                <a:gd name="connsiteY570" fmla="*/ 11508 h 51323"/>
                <a:gd name="connsiteX571" fmla="*/ 14583 w 51323"/>
                <a:gd name="connsiteY571" fmla="*/ 11508 h 51323"/>
                <a:gd name="connsiteX572" fmla="*/ 14325 w 51323"/>
                <a:gd name="connsiteY572" fmla="*/ 11989 h 51323"/>
                <a:gd name="connsiteX573" fmla="*/ 14325 w 51323"/>
                <a:gd name="connsiteY573" fmla="*/ 11989 h 51323"/>
                <a:gd name="connsiteX574" fmla="*/ 14016 w 51323"/>
                <a:gd name="connsiteY574" fmla="*/ 12367 h 51323"/>
                <a:gd name="connsiteX575" fmla="*/ 14016 w 51323"/>
                <a:gd name="connsiteY575" fmla="*/ 12367 h 51323"/>
                <a:gd name="connsiteX576" fmla="*/ 14308 w 51323"/>
                <a:gd name="connsiteY576" fmla="*/ 12230 h 51323"/>
                <a:gd name="connsiteX577" fmla="*/ 14549 w 51323"/>
                <a:gd name="connsiteY577" fmla="*/ 12075 h 51323"/>
                <a:gd name="connsiteX578" fmla="*/ 14549 w 51323"/>
                <a:gd name="connsiteY578" fmla="*/ 12247 h 51323"/>
                <a:gd name="connsiteX579" fmla="*/ 14995 w 51323"/>
                <a:gd name="connsiteY579" fmla="*/ 11921 h 51323"/>
                <a:gd name="connsiteX580" fmla="*/ 14995 w 51323"/>
                <a:gd name="connsiteY580" fmla="*/ 11921 h 51323"/>
                <a:gd name="connsiteX581" fmla="*/ 15133 w 51323"/>
                <a:gd name="connsiteY581" fmla="*/ 11817 h 51323"/>
                <a:gd name="connsiteX582" fmla="*/ 15133 w 51323"/>
                <a:gd name="connsiteY582" fmla="*/ 11817 h 51323"/>
                <a:gd name="connsiteX583" fmla="*/ 15442 w 51323"/>
                <a:gd name="connsiteY583" fmla="*/ 11577 h 51323"/>
                <a:gd name="connsiteX584" fmla="*/ 15442 w 51323"/>
                <a:gd name="connsiteY584" fmla="*/ 11577 h 51323"/>
                <a:gd name="connsiteX585" fmla="*/ 15322 w 51323"/>
                <a:gd name="connsiteY585" fmla="*/ 11697 h 51323"/>
                <a:gd name="connsiteX586" fmla="*/ 15322 w 51323"/>
                <a:gd name="connsiteY586" fmla="*/ 11783 h 51323"/>
                <a:gd name="connsiteX587" fmla="*/ 15322 w 51323"/>
                <a:gd name="connsiteY587" fmla="*/ 11783 h 51323"/>
                <a:gd name="connsiteX588" fmla="*/ 15150 w 51323"/>
                <a:gd name="connsiteY588" fmla="*/ 12006 h 51323"/>
                <a:gd name="connsiteX589" fmla="*/ 15150 w 51323"/>
                <a:gd name="connsiteY589" fmla="*/ 12006 h 51323"/>
                <a:gd name="connsiteX590" fmla="*/ 15150 w 51323"/>
                <a:gd name="connsiteY590" fmla="*/ 12144 h 51323"/>
                <a:gd name="connsiteX591" fmla="*/ 15150 w 51323"/>
                <a:gd name="connsiteY591" fmla="*/ 12247 h 51323"/>
                <a:gd name="connsiteX592" fmla="*/ 14978 w 51323"/>
                <a:gd name="connsiteY592" fmla="*/ 12247 h 51323"/>
                <a:gd name="connsiteX593" fmla="*/ 14978 w 51323"/>
                <a:gd name="connsiteY593" fmla="*/ 12350 h 51323"/>
                <a:gd name="connsiteX594" fmla="*/ 15150 w 51323"/>
                <a:gd name="connsiteY594" fmla="*/ 12350 h 51323"/>
                <a:gd name="connsiteX595" fmla="*/ 14892 w 51323"/>
                <a:gd name="connsiteY595" fmla="*/ 12505 h 51323"/>
                <a:gd name="connsiteX596" fmla="*/ 14892 w 51323"/>
                <a:gd name="connsiteY596" fmla="*/ 12608 h 51323"/>
                <a:gd name="connsiteX597" fmla="*/ 14995 w 51323"/>
                <a:gd name="connsiteY597" fmla="*/ 12608 h 51323"/>
                <a:gd name="connsiteX598" fmla="*/ 14889 w 51323"/>
                <a:gd name="connsiteY598" fmla="*/ 12770 h 51323"/>
                <a:gd name="connsiteX599" fmla="*/ 14806 w 51323"/>
                <a:gd name="connsiteY599" fmla="*/ 12762 h 51323"/>
                <a:gd name="connsiteX600" fmla="*/ 14806 w 51323"/>
                <a:gd name="connsiteY600" fmla="*/ 12917 h 51323"/>
                <a:gd name="connsiteX601" fmla="*/ 14566 w 51323"/>
                <a:gd name="connsiteY601" fmla="*/ 13089 h 51323"/>
                <a:gd name="connsiteX602" fmla="*/ 14411 w 51323"/>
                <a:gd name="connsiteY602" fmla="*/ 13312 h 51323"/>
                <a:gd name="connsiteX603" fmla="*/ 14531 w 51323"/>
                <a:gd name="connsiteY603" fmla="*/ 13415 h 51323"/>
                <a:gd name="connsiteX604" fmla="*/ 14531 w 51323"/>
                <a:gd name="connsiteY604" fmla="*/ 13501 h 51323"/>
                <a:gd name="connsiteX605" fmla="*/ 14531 w 51323"/>
                <a:gd name="connsiteY605" fmla="*/ 13621 h 51323"/>
                <a:gd name="connsiteX606" fmla="*/ 14634 w 51323"/>
                <a:gd name="connsiteY606" fmla="*/ 13621 h 51323"/>
                <a:gd name="connsiteX607" fmla="*/ 14325 w 51323"/>
                <a:gd name="connsiteY607" fmla="*/ 13844 h 51323"/>
                <a:gd name="connsiteX608" fmla="*/ 14549 w 51323"/>
                <a:gd name="connsiteY608" fmla="*/ 13844 h 51323"/>
                <a:gd name="connsiteX609" fmla="*/ 14549 w 51323"/>
                <a:gd name="connsiteY609" fmla="*/ 13844 h 51323"/>
                <a:gd name="connsiteX610" fmla="*/ 14394 w 51323"/>
                <a:gd name="connsiteY610" fmla="*/ 13999 h 51323"/>
                <a:gd name="connsiteX611" fmla="*/ 14549 w 51323"/>
                <a:gd name="connsiteY611" fmla="*/ 13999 h 51323"/>
                <a:gd name="connsiteX612" fmla="*/ 14549 w 51323"/>
                <a:gd name="connsiteY612" fmla="*/ 13999 h 51323"/>
                <a:gd name="connsiteX613" fmla="*/ 14446 w 51323"/>
                <a:gd name="connsiteY613" fmla="*/ 14153 h 51323"/>
                <a:gd name="connsiteX614" fmla="*/ 14549 w 51323"/>
                <a:gd name="connsiteY614" fmla="*/ 14153 h 51323"/>
                <a:gd name="connsiteX615" fmla="*/ 14119 w 51323"/>
                <a:gd name="connsiteY615" fmla="*/ 14360 h 51323"/>
                <a:gd name="connsiteX616" fmla="*/ 13896 w 51323"/>
                <a:gd name="connsiteY616" fmla="*/ 14497 h 51323"/>
                <a:gd name="connsiteX617" fmla="*/ 13896 w 51323"/>
                <a:gd name="connsiteY617" fmla="*/ 14308 h 51323"/>
                <a:gd name="connsiteX618" fmla="*/ 13793 w 51323"/>
                <a:gd name="connsiteY618" fmla="*/ 14634 h 51323"/>
                <a:gd name="connsiteX619" fmla="*/ 14428 w 51323"/>
                <a:gd name="connsiteY619" fmla="*/ 14411 h 51323"/>
                <a:gd name="connsiteX620" fmla="*/ 14428 w 51323"/>
                <a:gd name="connsiteY620" fmla="*/ 14617 h 51323"/>
                <a:gd name="connsiteX621" fmla="*/ 14428 w 51323"/>
                <a:gd name="connsiteY621" fmla="*/ 14617 h 51323"/>
                <a:gd name="connsiteX622" fmla="*/ 14566 w 51323"/>
                <a:gd name="connsiteY622" fmla="*/ 14617 h 51323"/>
                <a:gd name="connsiteX623" fmla="*/ 14652 w 51323"/>
                <a:gd name="connsiteY623" fmla="*/ 14617 h 51323"/>
                <a:gd name="connsiteX624" fmla="*/ 14497 w 51323"/>
                <a:gd name="connsiteY624" fmla="*/ 14772 h 51323"/>
                <a:gd name="connsiteX625" fmla="*/ 14360 w 51323"/>
                <a:gd name="connsiteY625" fmla="*/ 14875 h 51323"/>
                <a:gd name="connsiteX626" fmla="*/ 14360 w 51323"/>
                <a:gd name="connsiteY626" fmla="*/ 15012 h 51323"/>
                <a:gd name="connsiteX627" fmla="*/ 13844 w 51323"/>
                <a:gd name="connsiteY627" fmla="*/ 15287 h 51323"/>
                <a:gd name="connsiteX628" fmla="*/ 13844 w 51323"/>
                <a:gd name="connsiteY628" fmla="*/ 15287 h 51323"/>
                <a:gd name="connsiteX629" fmla="*/ 12590 w 51323"/>
                <a:gd name="connsiteY629" fmla="*/ 15407 h 51323"/>
                <a:gd name="connsiteX630" fmla="*/ 12247 w 51323"/>
                <a:gd name="connsiteY630" fmla="*/ 15253 h 51323"/>
                <a:gd name="connsiteX631" fmla="*/ 10426 w 51323"/>
                <a:gd name="connsiteY631" fmla="*/ 16369 h 51323"/>
                <a:gd name="connsiteX632" fmla="*/ 11749 w 51323"/>
                <a:gd name="connsiteY632" fmla="*/ 16369 h 51323"/>
                <a:gd name="connsiteX633" fmla="*/ 11577 w 51323"/>
                <a:gd name="connsiteY633" fmla="*/ 16507 h 51323"/>
                <a:gd name="connsiteX634" fmla="*/ 11577 w 51323"/>
                <a:gd name="connsiteY634" fmla="*/ 16936 h 51323"/>
                <a:gd name="connsiteX635" fmla="*/ 11835 w 51323"/>
                <a:gd name="connsiteY635" fmla="*/ 17125 h 51323"/>
                <a:gd name="connsiteX636" fmla="*/ 11835 w 51323"/>
                <a:gd name="connsiteY636" fmla="*/ 17245 h 51323"/>
                <a:gd name="connsiteX637" fmla="*/ 11251 w 51323"/>
                <a:gd name="connsiteY637" fmla="*/ 17365 h 51323"/>
                <a:gd name="connsiteX638" fmla="*/ 10770 w 51323"/>
                <a:gd name="connsiteY638" fmla="*/ 17743 h 51323"/>
                <a:gd name="connsiteX639" fmla="*/ 10770 w 51323"/>
                <a:gd name="connsiteY639" fmla="*/ 17743 h 51323"/>
                <a:gd name="connsiteX640" fmla="*/ 10770 w 51323"/>
                <a:gd name="connsiteY640" fmla="*/ 17640 h 51323"/>
                <a:gd name="connsiteX641" fmla="*/ 11371 w 51323"/>
                <a:gd name="connsiteY641" fmla="*/ 17280 h 51323"/>
                <a:gd name="connsiteX642" fmla="*/ 11543 w 51323"/>
                <a:gd name="connsiteY642" fmla="*/ 17194 h 51323"/>
                <a:gd name="connsiteX643" fmla="*/ 11543 w 51323"/>
                <a:gd name="connsiteY643" fmla="*/ 16970 h 51323"/>
                <a:gd name="connsiteX644" fmla="*/ 11543 w 51323"/>
                <a:gd name="connsiteY644" fmla="*/ 16970 h 51323"/>
                <a:gd name="connsiteX645" fmla="*/ 11543 w 51323"/>
                <a:gd name="connsiteY645" fmla="*/ 16970 h 51323"/>
                <a:gd name="connsiteX646" fmla="*/ 11233 w 51323"/>
                <a:gd name="connsiteY646" fmla="*/ 16970 h 51323"/>
                <a:gd name="connsiteX647" fmla="*/ 10924 w 51323"/>
                <a:gd name="connsiteY647" fmla="*/ 16970 h 51323"/>
                <a:gd name="connsiteX648" fmla="*/ 10924 w 51323"/>
                <a:gd name="connsiteY648" fmla="*/ 17159 h 51323"/>
                <a:gd name="connsiteX649" fmla="*/ 10924 w 51323"/>
                <a:gd name="connsiteY649" fmla="*/ 17159 h 51323"/>
                <a:gd name="connsiteX650" fmla="*/ 10667 w 51323"/>
                <a:gd name="connsiteY650" fmla="*/ 17159 h 51323"/>
                <a:gd name="connsiteX651" fmla="*/ 10667 w 51323"/>
                <a:gd name="connsiteY651" fmla="*/ 17159 h 51323"/>
                <a:gd name="connsiteX652" fmla="*/ 10478 w 51323"/>
                <a:gd name="connsiteY652" fmla="*/ 17331 h 51323"/>
                <a:gd name="connsiteX653" fmla="*/ 10478 w 51323"/>
                <a:gd name="connsiteY653" fmla="*/ 17331 h 51323"/>
                <a:gd name="connsiteX654" fmla="*/ 10478 w 51323"/>
                <a:gd name="connsiteY654" fmla="*/ 17331 h 51323"/>
                <a:gd name="connsiteX655" fmla="*/ 10478 w 51323"/>
                <a:gd name="connsiteY655" fmla="*/ 17331 h 51323"/>
                <a:gd name="connsiteX656" fmla="*/ 10083 w 51323"/>
                <a:gd name="connsiteY656" fmla="*/ 18001 h 51323"/>
                <a:gd name="connsiteX657" fmla="*/ 9911 w 51323"/>
                <a:gd name="connsiteY657" fmla="*/ 18087 h 51323"/>
                <a:gd name="connsiteX658" fmla="*/ 9808 w 51323"/>
                <a:gd name="connsiteY658" fmla="*/ 18087 h 51323"/>
                <a:gd name="connsiteX659" fmla="*/ 8743 w 51323"/>
                <a:gd name="connsiteY659" fmla="*/ 18980 h 51323"/>
                <a:gd name="connsiteX660" fmla="*/ 8743 w 51323"/>
                <a:gd name="connsiteY660" fmla="*/ 18980 h 51323"/>
                <a:gd name="connsiteX661" fmla="*/ 8743 w 51323"/>
                <a:gd name="connsiteY661" fmla="*/ 18980 h 51323"/>
                <a:gd name="connsiteX662" fmla="*/ 8743 w 51323"/>
                <a:gd name="connsiteY662" fmla="*/ 18740 h 51323"/>
                <a:gd name="connsiteX663" fmla="*/ 8365 w 51323"/>
                <a:gd name="connsiteY663" fmla="*/ 19495 h 51323"/>
                <a:gd name="connsiteX664" fmla="*/ 8365 w 51323"/>
                <a:gd name="connsiteY664" fmla="*/ 19495 h 51323"/>
                <a:gd name="connsiteX665" fmla="*/ 8262 w 51323"/>
                <a:gd name="connsiteY665" fmla="*/ 19650 h 51323"/>
                <a:gd name="connsiteX666" fmla="*/ 8434 w 51323"/>
                <a:gd name="connsiteY666" fmla="*/ 19341 h 51323"/>
                <a:gd name="connsiteX667" fmla="*/ 8434 w 51323"/>
                <a:gd name="connsiteY667" fmla="*/ 19221 h 51323"/>
                <a:gd name="connsiteX668" fmla="*/ 8434 w 51323"/>
                <a:gd name="connsiteY668" fmla="*/ 19221 h 51323"/>
                <a:gd name="connsiteX669" fmla="*/ 8674 w 51323"/>
                <a:gd name="connsiteY669" fmla="*/ 18671 h 51323"/>
                <a:gd name="connsiteX670" fmla="*/ 8365 w 51323"/>
                <a:gd name="connsiteY670" fmla="*/ 19221 h 51323"/>
                <a:gd name="connsiteX671" fmla="*/ 8365 w 51323"/>
                <a:gd name="connsiteY671" fmla="*/ 18929 h 51323"/>
                <a:gd name="connsiteX672" fmla="*/ 8365 w 51323"/>
                <a:gd name="connsiteY672" fmla="*/ 19324 h 51323"/>
                <a:gd name="connsiteX673" fmla="*/ 8365 w 51323"/>
                <a:gd name="connsiteY673" fmla="*/ 19530 h 51323"/>
                <a:gd name="connsiteX674" fmla="*/ 8365 w 51323"/>
                <a:gd name="connsiteY674" fmla="*/ 19650 h 51323"/>
                <a:gd name="connsiteX675" fmla="*/ 8365 w 51323"/>
                <a:gd name="connsiteY675" fmla="*/ 19513 h 51323"/>
                <a:gd name="connsiteX676" fmla="*/ 8365 w 51323"/>
                <a:gd name="connsiteY676" fmla="*/ 19856 h 51323"/>
                <a:gd name="connsiteX677" fmla="*/ 8365 w 51323"/>
                <a:gd name="connsiteY677" fmla="*/ 19856 h 51323"/>
                <a:gd name="connsiteX678" fmla="*/ 8210 w 51323"/>
                <a:gd name="connsiteY678" fmla="*/ 19976 h 51323"/>
                <a:gd name="connsiteX679" fmla="*/ 8210 w 51323"/>
                <a:gd name="connsiteY679" fmla="*/ 20097 h 51323"/>
                <a:gd name="connsiteX680" fmla="*/ 8313 w 51323"/>
                <a:gd name="connsiteY680" fmla="*/ 20234 h 51323"/>
                <a:gd name="connsiteX681" fmla="*/ 8313 w 51323"/>
                <a:gd name="connsiteY681" fmla="*/ 20131 h 51323"/>
                <a:gd name="connsiteX682" fmla="*/ 8176 w 51323"/>
                <a:gd name="connsiteY682" fmla="*/ 20354 h 51323"/>
                <a:gd name="connsiteX683" fmla="*/ 8176 w 51323"/>
                <a:gd name="connsiteY683" fmla="*/ 20251 h 51323"/>
                <a:gd name="connsiteX684" fmla="*/ 8176 w 51323"/>
                <a:gd name="connsiteY684" fmla="*/ 20251 h 51323"/>
                <a:gd name="connsiteX685" fmla="*/ 8176 w 51323"/>
                <a:gd name="connsiteY685" fmla="*/ 20389 h 51323"/>
                <a:gd name="connsiteX686" fmla="*/ 8176 w 51323"/>
                <a:gd name="connsiteY686" fmla="*/ 20389 h 51323"/>
                <a:gd name="connsiteX687" fmla="*/ 8176 w 51323"/>
                <a:gd name="connsiteY687" fmla="*/ 20389 h 51323"/>
                <a:gd name="connsiteX688" fmla="*/ 8176 w 51323"/>
                <a:gd name="connsiteY688" fmla="*/ 20389 h 51323"/>
                <a:gd name="connsiteX689" fmla="*/ 6579 w 51323"/>
                <a:gd name="connsiteY689" fmla="*/ 22982 h 51323"/>
                <a:gd name="connsiteX690" fmla="*/ 6579 w 51323"/>
                <a:gd name="connsiteY690" fmla="*/ 22982 h 51323"/>
                <a:gd name="connsiteX691" fmla="*/ 6579 w 51323"/>
                <a:gd name="connsiteY691" fmla="*/ 22982 h 51323"/>
                <a:gd name="connsiteX692" fmla="*/ 6579 w 51323"/>
                <a:gd name="connsiteY692" fmla="*/ 22982 h 51323"/>
                <a:gd name="connsiteX693" fmla="*/ 6579 w 51323"/>
                <a:gd name="connsiteY693" fmla="*/ 22604 h 51323"/>
                <a:gd name="connsiteX694" fmla="*/ 6579 w 51323"/>
                <a:gd name="connsiteY694" fmla="*/ 22707 h 51323"/>
                <a:gd name="connsiteX695" fmla="*/ 6579 w 51323"/>
                <a:gd name="connsiteY695" fmla="*/ 21745 h 51323"/>
                <a:gd name="connsiteX696" fmla="*/ 6579 w 51323"/>
                <a:gd name="connsiteY696" fmla="*/ 21745 h 51323"/>
                <a:gd name="connsiteX697" fmla="*/ 6579 w 51323"/>
                <a:gd name="connsiteY697" fmla="*/ 21745 h 51323"/>
                <a:gd name="connsiteX698" fmla="*/ 6579 w 51323"/>
                <a:gd name="connsiteY698" fmla="*/ 21745 h 51323"/>
                <a:gd name="connsiteX699" fmla="*/ 6579 w 51323"/>
                <a:gd name="connsiteY699" fmla="*/ 21642 h 51323"/>
                <a:gd name="connsiteX700" fmla="*/ 6579 w 51323"/>
                <a:gd name="connsiteY700" fmla="*/ 21522 h 51323"/>
                <a:gd name="connsiteX701" fmla="*/ 6579 w 51323"/>
                <a:gd name="connsiteY701" fmla="*/ 21522 h 51323"/>
                <a:gd name="connsiteX702" fmla="*/ 6579 w 51323"/>
                <a:gd name="connsiteY702" fmla="*/ 21385 h 51323"/>
                <a:gd name="connsiteX703" fmla="*/ 6579 w 51323"/>
                <a:gd name="connsiteY703" fmla="*/ 21385 h 51323"/>
                <a:gd name="connsiteX704" fmla="*/ 6579 w 51323"/>
                <a:gd name="connsiteY704" fmla="*/ 21385 h 51323"/>
                <a:gd name="connsiteX705" fmla="*/ 6579 w 51323"/>
                <a:gd name="connsiteY705" fmla="*/ 21385 h 51323"/>
                <a:gd name="connsiteX706" fmla="*/ 6579 w 51323"/>
                <a:gd name="connsiteY706" fmla="*/ 21230 h 51323"/>
                <a:gd name="connsiteX707" fmla="*/ 6579 w 51323"/>
                <a:gd name="connsiteY707" fmla="*/ 21333 h 51323"/>
                <a:gd name="connsiteX708" fmla="*/ 6373 w 51323"/>
                <a:gd name="connsiteY708" fmla="*/ 21453 h 51323"/>
                <a:gd name="connsiteX709" fmla="*/ 6373 w 51323"/>
                <a:gd name="connsiteY709" fmla="*/ 21453 h 51323"/>
                <a:gd name="connsiteX710" fmla="*/ 6373 w 51323"/>
                <a:gd name="connsiteY710" fmla="*/ 21849 h 51323"/>
                <a:gd name="connsiteX711" fmla="*/ 6373 w 51323"/>
                <a:gd name="connsiteY711" fmla="*/ 21763 h 51323"/>
                <a:gd name="connsiteX712" fmla="*/ 6373 w 51323"/>
                <a:gd name="connsiteY712" fmla="*/ 21660 h 51323"/>
                <a:gd name="connsiteX713" fmla="*/ 6373 w 51323"/>
                <a:gd name="connsiteY713" fmla="*/ 21350 h 51323"/>
                <a:gd name="connsiteX714" fmla="*/ 6373 w 51323"/>
                <a:gd name="connsiteY714" fmla="*/ 21350 h 51323"/>
                <a:gd name="connsiteX715" fmla="*/ 6184 w 51323"/>
                <a:gd name="connsiteY715" fmla="*/ 21350 h 51323"/>
                <a:gd name="connsiteX716" fmla="*/ 6184 w 51323"/>
                <a:gd name="connsiteY716" fmla="*/ 21127 h 51323"/>
                <a:gd name="connsiteX717" fmla="*/ 6184 w 51323"/>
                <a:gd name="connsiteY717" fmla="*/ 21127 h 51323"/>
                <a:gd name="connsiteX718" fmla="*/ 6184 w 51323"/>
                <a:gd name="connsiteY718" fmla="*/ 21385 h 51323"/>
                <a:gd name="connsiteX719" fmla="*/ 6184 w 51323"/>
                <a:gd name="connsiteY719" fmla="*/ 21385 h 51323"/>
                <a:gd name="connsiteX720" fmla="*/ 6184 w 51323"/>
                <a:gd name="connsiteY720" fmla="*/ 21505 h 51323"/>
                <a:gd name="connsiteX721" fmla="*/ 6184 w 51323"/>
                <a:gd name="connsiteY721" fmla="*/ 21505 h 51323"/>
                <a:gd name="connsiteX722" fmla="*/ 6184 w 51323"/>
                <a:gd name="connsiteY722" fmla="*/ 21505 h 51323"/>
                <a:gd name="connsiteX723" fmla="*/ 6184 w 51323"/>
                <a:gd name="connsiteY723" fmla="*/ 21505 h 51323"/>
                <a:gd name="connsiteX724" fmla="*/ 6184 w 51323"/>
                <a:gd name="connsiteY724" fmla="*/ 21505 h 51323"/>
                <a:gd name="connsiteX725" fmla="*/ 6184 w 51323"/>
                <a:gd name="connsiteY725" fmla="*/ 21505 h 51323"/>
                <a:gd name="connsiteX726" fmla="*/ 6184 w 51323"/>
                <a:gd name="connsiteY726" fmla="*/ 21608 h 51323"/>
                <a:gd name="connsiteX727" fmla="*/ 6184 w 51323"/>
                <a:gd name="connsiteY727" fmla="*/ 21608 h 51323"/>
                <a:gd name="connsiteX728" fmla="*/ 5943 w 51323"/>
                <a:gd name="connsiteY728" fmla="*/ 22553 h 51323"/>
                <a:gd name="connsiteX729" fmla="*/ 5943 w 51323"/>
                <a:gd name="connsiteY729" fmla="*/ 22398 h 51323"/>
                <a:gd name="connsiteX730" fmla="*/ 5943 w 51323"/>
                <a:gd name="connsiteY730" fmla="*/ 22621 h 51323"/>
                <a:gd name="connsiteX731" fmla="*/ 5703 w 51323"/>
                <a:gd name="connsiteY731" fmla="*/ 24116 h 51323"/>
                <a:gd name="connsiteX732" fmla="*/ 5703 w 51323"/>
                <a:gd name="connsiteY732" fmla="*/ 25507 h 51323"/>
                <a:gd name="connsiteX733" fmla="*/ 5703 w 51323"/>
                <a:gd name="connsiteY733" fmla="*/ 25507 h 51323"/>
                <a:gd name="connsiteX734" fmla="*/ 5703 w 51323"/>
                <a:gd name="connsiteY734" fmla="*/ 25421 h 51323"/>
                <a:gd name="connsiteX735" fmla="*/ 5703 w 51323"/>
                <a:gd name="connsiteY735" fmla="*/ 25421 h 51323"/>
                <a:gd name="connsiteX736" fmla="*/ 5703 w 51323"/>
                <a:gd name="connsiteY736" fmla="*/ 25421 h 51323"/>
                <a:gd name="connsiteX737" fmla="*/ 5703 w 51323"/>
                <a:gd name="connsiteY737" fmla="*/ 25421 h 51323"/>
                <a:gd name="connsiteX738" fmla="*/ 5703 w 51323"/>
                <a:gd name="connsiteY738" fmla="*/ 25627 h 51323"/>
                <a:gd name="connsiteX739" fmla="*/ 5703 w 51323"/>
                <a:gd name="connsiteY739" fmla="*/ 25627 h 51323"/>
                <a:gd name="connsiteX740" fmla="*/ 5703 w 51323"/>
                <a:gd name="connsiteY740" fmla="*/ 25627 h 51323"/>
                <a:gd name="connsiteX741" fmla="*/ 5703 w 51323"/>
                <a:gd name="connsiteY741" fmla="*/ 25404 h 51323"/>
                <a:gd name="connsiteX742" fmla="*/ 5703 w 51323"/>
                <a:gd name="connsiteY742" fmla="*/ 25404 h 51323"/>
                <a:gd name="connsiteX743" fmla="*/ 5995 w 51323"/>
                <a:gd name="connsiteY743" fmla="*/ 24665 h 51323"/>
                <a:gd name="connsiteX744" fmla="*/ 5995 w 51323"/>
                <a:gd name="connsiteY744" fmla="*/ 24665 h 51323"/>
                <a:gd name="connsiteX745" fmla="*/ 5995 w 51323"/>
                <a:gd name="connsiteY745" fmla="*/ 24665 h 51323"/>
                <a:gd name="connsiteX746" fmla="*/ 5995 w 51323"/>
                <a:gd name="connsiteY746" fmla="*/ 24665 h 51323"/>
                <a:gd name="connsiteX747" fmla="*/ 5857 w 51323"/>
                <a:gd name="connsiteY747" fmla="*/ 25593 h 51323"/>
                <a:gd name="connsiteX748" fmla="*/ 5857 w 51323"/>
                <a:gd name="connsiteY748" fmla="*/ 25919 h 51323"/>
                <a:gd name="connsiteX749" fmla="*/ 5101 w 51323"/>
                <a:gd name="connsiteY749" fmla="*/ 26521 h 51323"/>
                <a:gd name="connsiteX750" fmla="*/ 4500 w 51323"/>
                <a:gd name="connsiteY750" fmla="*/ 25765 h 51323"/>
                <a:gd name="connsiteX751" fmla="*/ 4397 w 51323"/>
                <a:gd name="connsiteY751" fmla="*/ 26658 h 51323"/>
                <a:gd name="connsiteX752" fmla="*/ 4397 w 51323"/>
                <a:gd name="connsiteY752" fmla="*/ 26658 h 51323"/>
                <a:gd name="connsiteX753" fmla="*/ 4397 w 51323"/>
                <a:gd name="connsiteY753" fmla="*/ 26864 h 51323"/>
                <a:gd name="connsiteX754" fmla="*/ 4397 w 51323"/>
                <a:gd name="connsiteY754" fmla="*/ 26864 h 51323"/>
                <a:gd name="connsiteX755" fmla="*/ 4397 w 51323"/>
                <a:gd name="connsiteY755" fmla="*/ 26950 h 51323"/>
                <a:gd name="connsiteX756" fmla="*/ 4586 w 51323"/>
                <a:gd name="connsiteY756" fmla="*/ 26950 h 51323"/>
                <a:gd name="connsiteX757" fmla="*/ 4724 w 51323"/>
                <a:gd name="connsiteY757" fmla="*/ 27190 h 51323"/>
                <a:gd name="connsiteX758" fmla="*/ 4724 w 51323"/>
                <a:gd name="connsiteY758" fmla="*/ 27190 h 51323"/>
                <a:gd name="connsiteX759" fmla="*/ 4724 w 51323"/>
                <a:gd name="connsiteY759" fmla="*/ 27345 h 51323"/>
                <a:gd name="connsiteX760" fmla="*/ 4724 w 51323"/>
                <a:gd name="connsiteY760" fmla="*/ 27448 h 51323"/>
                <a:gd name="connsiteX761" fmla="*/ 4724 w 51323"/>
                <a:gd name="connsiteY761" fmla="*/ 27448 h 51323"/>
                <a:gd name="connsiteX762" fmla="*/ 4724 w 51323"/>
                <a:gd name="connsiteY762" fmla="*/ 28152 h 51323"/>
                <a:gd name="connsiteX763" fmla="*/ 4724 w 51323"/>
                <a:gd name="connsiteY763" fmla="*/ 28152 h 51323"/>
                <a:gd name="connsiteX764" fmla="*/ 4724 w 51323"/>
                <a:gd name="connsiteY764" fmla="*/ 28616 h 51323"/>
                <a:gd name="connsiteX765" fmla="*/ 4724 w 51323"/>
                <a:gd name="connsiteY765" fmla="*/ 28444 h 51323"/>
                <a:gd name="connsiteX766" fmla="*/ 4724 w 51323"/>
                <a:gd name="connsiteY766" fmla="*/ 28805 h 51323"/>
                <a:gd name="connsiteX767" fmla="*/ 4724 w 51323"/>
                <a:gd name="connsiteY767" fmla="*/ 28719 h 51323"/>
                <a:gd name="connsiteX768" fmla="*/ 4724 w 51323"/>
                <a:gd name="connsiteY768" fmla="*/ 29149 h 51323"/>
                <a:gd name="connsiteX769" fmla="*/ 4930 w 51323"/>
                <a:gd name="connsiteY769" fmla="*/ 29733 h 51323"/>
                <a:gd name="connsiteX770" fmla="*/ 5634 w 51323"/>
                <a:gd name="connsiteY770" fmla="*/ 30471 h 51323"/>
                <a:gd name="connsiteX771" fmla="*/ 5960 w 51323"/>
                <a:gd name="connsiteY771" fmla="*/ 29595 h 51323"/>
                <a:gd name="connsiteX772" fmla="*/ 5960 w 51323"/>
                <a:gd name="connsiteY772" fmla="*/ 29475 h 51323"/>
                <a:gd name="connsiteX773" fmla="*/ 6355 w 51323"/>
                <a:gd name="connsiteY773" fmla="*/ 29234 h 51323"/>
                <a:gd name="connsiteX774" fmla="*/ 6355 w 51323"/>
                <a:gd name="connsiteY774" fmla="*/ 30145 h 51323"/>
                <a:gd name="connsiteX775" fmla="*/ 6665 w 51323"/>
                <a:gd name="connsiteY775" fmla="*/ 29664 h 51323"/>
                <a:gd name="connsiteX776" fmla="*/ 6665 w 51323"/>
                <a:gd name="connsiteY776" fmla="*/ 29441 h 51323"/>
                <a:gd name="connsiteX777" fmla="*/ 6785 w 51323"/>
                <a:gd name="connsiteY777" fmla="*/ 29733 h 51323"/>
                <a:gd name="connsiteX778" fmla="*/ 7060 w 51323"/>
                <a:gd name="connsiteY778" fmla="*/ 30007 h 51323"/>
                <a:gd name="connsiteX779" fmla="*/ 7472 w 51323"/>
                <a:gd name="connsiteY779" fmla="*/ 30196 h 51323"/>
                <a:gd name="connsiteX780" fmla="*/ 8262 w 51323"/>
                <a:gd name="connsiteY780" fmla="*/ 30402 h 51323"/>
                <a:gd name="connsiteX781" fmla="*/ 8262 w 51323"/>
                <a:gd name="connsiteY781" fmla="*/ 30643 h 51323"/>
                <a:gd name="connsiteX782" fmla="*/ 8434 w 51323"/>
                <a:gd name="connsiteY782" fmla="*/ 31107 h 51323"/>
                <a:gd name="connsiteX783" fmla="*/ 9189 w 51323"/>
                <a:gd name="connsiteY783" fmla="*/ 32000 h 51323"/>
                <a:gd name="connsiteX784" fmla="*/ 9550 w 51323"/>
                <a:gd name="connsiteY784" fmla="*/ 32309 h 51323"/>
                <a:gd name="connsiteX785" fmla="*/ 10220 w 51323"/>
                <a:gd name="connsiteY785" fmla="*/ 32532 h 51323"/>
                <a:gd name="connsiteX786" fmla="*/ 10856 w 51323"/>
                <a:gd name="connsiteY786" fmla="*/ 33151 h 51323"/>
                <a:gd name="connsiteX787" fmla="*/ 11302 w 51323"/>
                <a:gd name="connsiteY787" fmla="*/ 33924 h 51323"/>
                <a:gd name="connsiteX788" fmla="*/ 11045 w 51323"/>
                <a:gd name="connsiteY788" fmla="*/ 34868 h 51323"/>
                <a:gd name="connsiteX789" fmla="*/ 11148 w 51323"/>
                <a:gd name="connsiteY789" fmla="*/ 34868 h 51323"/>
                <a:gd name="connsiteX790" fmla="*/ 11337 w 51323"/>
                <a:gd name="connsiteY790" fmla="*/ 34731 h 51323"/>
                <a:gd name="connsiteX791" fmla="*/ 11337 w 51323"/>
                <a:gd name="connsiteY791" fmla="*/ 34731 h 51323"/>
                <a:gd name="connsiteX792" fmla="*/ 11337 w 51323"/>
                <a:gd name="connsiteY792" fmla="*/ 35092 h 51323"/>
                <a:gd name="connsiteX793" fmla="*/ 11680 w 51323"/>
                <a:gd name="connsiteY793" fmla="*/ 35624 h 51323"/>
                <a:gd name="connsiteX794" fmla="*/ 12419 w 51323"/>
                <a:gd name="connsiteY794" fmla="*/ 35074 h 51323"/>
                <a:gd name="connsiteX795" fmla="*/ 12642 w 51323"/>
                <a:gd name="connsiteY795" fmla="*/ 35263 h 51323"/>
                <a:gd name="connsiteX796" fmla="*/ 12882 w 51323"/>
                <a:gd name="connsiteY796" fmla="*/ 35469 h 51323"/>
                <a:gd name="connsiteX797" fmla="*/ 12968 w 51323"/>
                <a:gd name="connsiteY797" fmla="*/ 35830 h 51323"/>
                <a:gd name="connsiteX798" fmla="*/ 12968 w 51323"/>
                <a:gd name="connsiteY798" fmla="*/ 35710 h 51323"/>
                <a:gd name="connsiteX799" fmla="*/ 12968 w 51323"/>
                <a:gd name="connsiteY799" fmla="*/ 35504 h 51323"/>
                <a:gd name="connsiteX800" fmla="*/ 13363 w 51323"/>
                <a:gd name="connsiteY800" fmla="*/ 35641 h 51323"/>
                <a:gd name="connsiteX801" fmla="*/ 13466 w 51323"/>
                <a:gd name="connsiteY801" fmla="*/ 35744 h 51323"/>
                <a:gd name="connsiteX802" fmla="*/ 13466 w 51323"/>
                <a:gd name="connsiteY802" fmla="*/ 35744 h 51323"/>
                <a:gd name="connsiteX803" fmla="*/ 13466 w 51323"/>
                <a:gd name="connsiteY803" fmla="*/ 35744 h 51323"/>
                <a:gd name="connsiteX804" fmla="*/ 13466 w 51323"/>
                <a:gd name="connsiteY804" fmla="*/ 35744 h 51323"/>
                <a:gd name="connsiteX805" fmla="*/ 14926 w 51323"/>
                <a:gd name="connsiteY805" fmla="*/ 38922 h 51323"/>
                <a:gd name="connsiteX806" fmla="*/ 14926 w 51323"/>
                <a:gd name="connsiteY806" fmla="*/ 38819 h 51323"/>
                <a:gd name="connsiteX807" fmla="*/ 14806 w 51323"/>
                <a:gd name="connsiteY807" fmla="*/ 38819 h 51323"/>
                <a:gd name="connsiteX808" fmla="*/ 14806 w 51323"/>
                <a:gd name="connsiteY808" fmla="*/ 38819 h 51323"/>
                <a:gd name="connsiteX809" fmla="*/ 14806 w 51323"/>
                <a:gd name="connsiteY809" fmla="*/ 41447 h 51323"/>
                <a:gd name="connsiteX810" fmla="*/ 14806 w 51323"/>
                <a:gd name="connsiteY810" fmla="*/ 41447 h 51323"/>
                <a:gd name="connsiteX811" fmla="*/ 14600 w 51323"/>
                <a:gd name="connsiteY811" fmla="*/ 41447 h 51323"/>
                <a:gd name="connsiteX812" fmla="*/ 14600 w 51323"/>
                <a:gd name="connsiteY812" fmla="*/ 41687 h 51323"/>
                <a:gd name="connsiteX813" fmla="*/ 14154 w 51323"/>
                <a:gd name="connsiteY813" fmla="*/ 41962 h 51323"/>
                <a:gd name="connsiteX814" fmla="*/ 14154 w 51323"/>
                <a:gd name="connsiteY814" fmla="*/ 41962 h 51323"/>
                <a:gd name="connsiteX815" fmla="*/ 14154 w 51323"/>
                <a:gd name="connsiteY815" fmla="*/ 42048 h 51323"/>
                <a:gd name="connsiteX816" fmla="*/ 14154 w 51323"/>
                <a:gd name="connsiteY816" fmla="*/ 42048 h 51323"/>
                <a:gd name="connsiteX817" fmla="*/ 14411 w 51323"/>
                <a:gd name="connsiteY817" fmla="*/ 42529 h 51323"/>
                <a:gd name="connsiteX818" fmla="*/ 14411 w 51323"/>
                <a:gd name="connsiteY818" fmla="*/ 43336 h 51323"/>
                <a:gd name="connsiteX819" fmla="*/ 14411 w 51323"/>
                <a:gd name="connsiteY819" fmla="*/ 43250 h 51323"/>
                <a:gd name="connsiteX820" fmla="*/ 14411 w 51323"/>
                <a:gd name="connsiteY820" fmla="*/ 43113 h 51323"/>
                <a:gd name="connsiteX821" fmla="*/ 14171 w 51323"/>
                <a:gd name="connsiteY821" fmla="*/ 42924 h 51323"/>
                <a:gd name="connsiteX822" fmla="*/ 14325 w 51323"/>
                <a:gd name="connsiteY822" fmla="*/ 43113 h 51323"/>
                <a:gd name="connsiteX823" fmla="*/ 14325 w 51323"/>
                <a:gd name="connsiteY823" fmla="*/ 43250 h 51323"/>
                <a:gd name="connsiteX824" fmla="*/ 13844 w 51323"/>
                <a:gd name="connsiteY824" fmla="*/ 43817 h 51323"/>
                <a:gd name="connsiteX825" fmla="*/ 14549 w 51323"/>
                <a:gd name="connsiteY825" fmla="*/ 44418 h 51323"/>
                <a:gd name="connsiteX826" fmla="*/ 14549 w 51323"/>
                <a:gd name="connsiteY826" fmla="*/ 44418 h 51323"/>
                <a:gd name="connsiteX827" fmla="*/ 14755 w 51323"/>
                <a:gd name="connsiteY827" fmla="*/ 44693 h 51323"/>
                <a:gd name="connsiteX828" fmla="*/ 14755 w 51323"/>
                <a:gd name="connsiteY828" fmla="*/ 44693 h 51323"/>
                <a:gd name="connsiteX829" fmla="*/ 14755 w 51323"/>
                <a:gd name="connsiteY829" fmla="*/ 44882 h 51323"/>
                <a:gd name="connsiteX830" fmla="*/ 14291 w 51323"/>
                <a:gd name="connsiteY830" fmla="*/ 44882 h 51323"/>
                <a:gd name="connsiteX831" fmla="*/ 14566 w 51323"/>
                <a:gd name="connsiteY831" fmla="*/ 45123 h 51323"/>
                <a:gd name="connsiteX832" fmla="*/ 14566 w 51323"/>
                <a:gd name="connsiteY832" fmla="*/ 45123 h 51323"/>
                <a:gd name="connsiteX833" fmla="*/ 14463 w 51323"/>
                <a:gd name="connsiteY833" fmla="*/ 45294 h 51323"/>
                <a:gd name="connsiteX834" fmla="*/ 15012 w 51323"/>
                <a:gd name="connsiteY834" fmla="*/ 45707 h 51323"/>
                <a:gd name="connsiteX835" fmla="*/ 15012 w 51323"/>
                <a:gd name="connsiteY835" fmla="*/ 45707 h 51323"/>
                <a:gd name="connsiteX836" fmla="*/ 15012 w 51323"/>
                <a:gd name="connsiteY836" fmla="*/ 45707 h 51323"/>
                <a:gd name="connsiteX837" fmla="*/ 15717 w 51323"/>
                <a:gd name="connsiteY837" fmla="*/ 46359 h 51323"/>
                <a:gd name="connsiteX838" fmla="*/ 15717 w 51323"/>
                <a:gd name="connsiteY838" fmla="*/ 46359 h 51323"/>
                <a:gd name="connsiteX839" fmla="*/ 15717 w 51323"/>
                <a:gd name="connsiteY839" fmla="*/ 46359 h 51323"/>
                <a:gd name="connsiteX840" fmla="*/ 15717 w 51323"/>
                <a:gd name="connsiteY840" fmla="*/ 46359 h 51323"/>
                <a:gd name="connsiteX841" fmla="*/ 16730 w 51323"/>
                <a:gd name="connsiteY841" fmla="*/ 47012 h 51323"/>
                <a:gd name="connsiteX842" fmla="*/ 16730 w 51323"/>
                <a:gd name="connsiteY842" fmla="*/ 47012 h 51323"/>
                <a:gd name="connsiteX843" fmla="*/ 16730 w 51323"/>
                <a:gd name="connsiteY843" fmla="*/ 47012 h 51323"/>
                <a:gd name="connsiteX844" fmla="*/ 16730 w 51323"/>
                <a:gd name="connsiteY844" fmla="*/ 47012 h 51323"/>
                <a:gd name="connsiteX845" fmla="*/ 16885 w 51323"/>
                <a:gd name="connsiteY845" fmla="*/ 47132 h 51323"/>
                <a:gd name="connsiteX846" fmla="*/ 16885 w 51323"/>
                <a:gd name="connsiteY846" fmla="*/ 47132 h 51323"/>
                <a:gd name="connsiteX847" fmla="*/ 17091 w 51323"/>
                <a:gd name="connsiteY847" fmla="*/ 47270 h 51323"/>
                <a:gd name="connsiteX848" fmla="*/ 16988 w 51323"/>
                <a:gd name="connsiteY848" fmla="*/ 47270 h 51323"/>
                <a:gd name="connsiteX849" fmla="*/ 17898 w 51323"/>
                <a:gd name="connsiteY849" fmla="*/ 47751 h 51323"/>
                <a:gd name="connsiteX850" fmla="*/ 17898 w 51323"/>
                <a:gd name="connsiteY850" fmla="*/ 47751 h 51323"/>
                <a:gd name="connsiteX851" fmla="*/ 17898 w 51323"/>
                <a:gd name="connsiteY851" fmla="*/ 47751 h 51323"/>
                <a:gd name="connsiteX852" fmla="*/ 17898 w 51323"/>
                <a:gd name="connsiteY852" fmla="*/ 47751 h 51323"/>
                <a:gd name="connsiteX853" fmla="*/ 18396 w 51323"/>
                <a:gd name="connsiteY853" fmla="*/ 48008 h 51323"/>
                <a:gd name="connsiteX854" fmla="*/ 18173 w 51323"/>
                <a:gd name="connsiteY854" fmla="*/ 48008 h 51323"/>
                <a:gd name="connsiteX855" fmla="*/ 20560 w 51323"/>
                <a:gd name="connsiteY855" fmla="*/ 10117 h 51323"/>
                <a:gd name="connsiteX856" fmla="*/ 20560 w 51323"/>
                <a:gd name="connsiteY856" fmla="*/ 9980 h 51323"/>
                <a:gd name="connsiteX857" fmla="*/ 20286 w 51323"/>
                <a:gd name="connsiteY857" fmla="*/ 10323 h 51323"/>
                <a:gd name="connsiteX858" fmla="*/ 19289 w 51323"/>
                <a:gd name="connsiteY858" fmla="*/ 10907 h 51323"/>
                <a:gd name="connsiteX859" fmla="*/ 19152 w 51323"/>
                <a:gd name="connsiteY859" fmla="*/ 11165 h 51323"/>
                <a:gd name="connsiteX860" fmla="*/ 19152 w 51323"/>
                <a:gd name="connsiteY860" fmla="*/ 11165 h 51323"/>
                <a:gd name="connsiteX861" fmla="*/ 18997 w 51323"/>
                <a:gd name="connsiteY861" fmla="*/ 11165 h 51323"/>
                <a:gd name="connsiteX862" fmla="*/ 18585 w 51323"/>
                <a:gd name="connsiteY862" fmla="*/ 11577 h 51323"/>
                <a:gd name="connsiteX863" fmla="*/ 18259 w 51323"/>
                <a:gd name="connsiteY863" fmla="*/ 11903 h 51323"/>
                <a:gd name="connsiteX864" fmla="*/ 18001 w 51323"/>
                <a:gd name="connsiteY864" fmla="*/ 12109 h 51323"/>
                <a:gd name="connsiteX865" fmla="*/ 17743 w 51323"/>
                <a:gd name="connsiteY865" fmla="*/ 12006 h 51323"/>
                <a:gd name="connsiteX866" fmla="*/ 17503 w 51323"/>
                <a:gd name="connsiteY866" fmla="*/ 11783 h 51323"/>
                <a:gd name="connsiteX867" fmla="*/ 18018 w 51323"/>
                <a:gd name="connsiteY867" fmla="*/ 10461 h 51323"/>
                <a:gd name="connsiteX868" fmla="*/ 18448 w 51323"/>
                <a:gd name="connsiteY868" fmla="*/ 10134 h 51323"/>
                <a:gd name="connsiteX869" fmla="*/ 18448 w 51323"/>
                <a:gd name="connsiteY869" fmla="*/ 9739 h 51323"/>
                <a:gd name="connsiteX870" fmla="*/ 18345 w 51323"/>
                <a:gd name="connsiteY870" fmla="*/ 9739 h 51323"/>
                <a:gd name="connsiteX871" fmla="*/ 18963 w 51323"/>
                <a:gd name="connsiteY871" fmla="*/ 9344 h 51323"/>
                <a:gd name="connsiteX872" fmla="*/ 18774 w 51323"/>
                <a:gd name="connsiteY872" fmla="*/ 9104 h 51323"/>
                <a:gd name="connsiteX873" fmla="*/ 19324 w 51323"/>
                <a:gd name="connsiteY873" fmla="*/ 9104 h 51323"/>
                <a:gd name="connsiteX874" fmla="*/ 19324 w 51323"/>
                <a:gd name="connsiteY874" fmla="*/ 8966 h 51323"/>
                <a:gd name="connsiteX875" fmla="*/ 18946 w 51323"/>
                <a:gd name="connsiteY875" fmla="*/ 8966 h 51323"/>
                <a:gd name="connsiteX876" fmla="*/ 19598 w 51323"/>
                <a:gd name="connsiteY876" fmla="*/ 8674 h 51323"/>
                <a:gd name="connsiteX877" fmla="*/ 19598 w 51323"/>
                <a:gd name="connsiteY877" fmla="*/ 8674 h 51323"/>
                <a:gd name="connsiteX878" fmla="*/ 20182 w 51323"/>
                <a:gd name="connsiteY878" fmla="*/ 8193 h 51323"/>
                <a:gd name="connsiteX879" fmla="*/ 20354 w 51323"/>
                <a:gd name="connsiteY879" fmla="*/ 7953 h 51323"/>
                <a:gd name="connsiteX880" fmla="*/ 20560 w 51323"/>
                <a:gd name="connsiteY880" fmla="*/ 7764 h 51323"/>
                <a:gd name="connsiteX881" fmla="*/ 20681 w 51323"/>
                <a:gd name="connsiteY881" fmla="*/ 7386 h 51323"/>
                <a:gd name="connsiteX882" fmla="*/ 21746 w 51323"/>
                <a:gd name="connsiteY882" fmla="*/ 6338 h 51323"/>
                <a:gd name="connsiteX883" fmla="*/ 22914 w 51323"/>
                <a:gd name="connsiteY883" fmla="*/ 4981 h 51323"/>
                <a:gd name="connsiteX884" fmla="*/ 23326 w 51323"/>
                <a:gd name="connsiteY884" fmla="*/ 4844 h 51323"/>
                <a:gd name="connsiteX885" fmla="*/ 26761 w 51323"/>
                <a:gd name="connsiteY885" fmla="*/ 3693 h 51323"/>
                <a:gd name="connsiteX886" fmla="*/ 26881 w 51323"/>
                <a:gd name="connsiteY886" fmla="*/ 3693 h 51323"/>
                <a:gd name="connsiteX887" fmla="*/ 26607 w 51323"/>
                <a:gd name="connsiteY887" fmla="*/ 3951 h 51323"/>
                <a:gd name="connsiteX888" fmla="*/ 26211 w 51323"/>
                <a:gd name="connsiteY888" fmla="*/ 4208 h 51323"/>
                <a:gd name="connsiteX889" fmla="*/ 26211 w 51323"/>
                <a:gd name="connsiteY889" fmla="*/ 4329 h 51323"/>
                <a:gd name="connsiteX890" fmla="*/ 26074 w 51323"/>
                <a:gd name="connsiteY890" fmla="*/ 4500 h 51323"/>
                <a:gd name="connsiteX891" fmla="*/ 26383 w 51323"/>
                <a:gd name="connsiteY891" fmla="*/ 4621 h 51323"/>
                <a:gd name="connsiteX892" fmla="*/ 26057 w 51323"/>
                <a:gd name="connsiteY892" fmla="*/ 4947 h 51323"/>
                <a:gd name="connsiteX893" fmla="*/ 25301 w 51323"/>
                <a:gd name="connsiteY893" fmla="*/ 6235 h 51323"/>
                <a:gd name="connsiteX894" fmla="*/ 25112 w 51323"/>
                <a:gd name="connsiteY894" fmla="*/ 6373 h 51323"/>
                <a:gd name="connsiteX895" fmla="*/ 25009 w 51323"/>
                <a:gd name="connsiteY895" fmla="*/ 6596 h 51323"/>
                <a:gd name="connsiteX896" fmla="*/ 24751 w 51323"/>
                <a:gd name="connsiteY896" fmla="*/ 6596 h 51323"/>
                <a:gd name="connsiteX897" fmla="*/ 24751 w 51323"/>
                <a:gd name="connsiteY897" fmla="*/ 6768 h 51323"/>
                <a:gd name="connsiteX898" fmla="*/ 24751 w 51323"/>
                <a:gd name="connsiteY898" fmla="*/ 7180 h 51323"/>
                <a:gd name="connsiteX899" fmla="*/ 24442 w 51323"/>
                <a:gd name="connsiteY899" fmla="*/ 7489 h 51323"/>
                <a:gd name="connsiteX900" fmla="*/ 24133 w 51323"/>
                <a:gd name="connsiteY900" fmla="*/ 7489 h 51323"/>
                <a:gd name="connsiteX901" fmla="*/ 23738 w 51323"/>
                <a:gd name="connsiteY901" fmla="*/ 7626 h 51323"/>
                <a:gd name="connsiteX902" fmla="*/ 23738 w 51323"/>
                <a:gd name="connsiteY902" fmla="*/ 7781 h 51323"/>
                <a:gd name="connsiteX903" fmla="*/ 23824 w 51323"/>
                <a:gd name="connsiteY903" fmla="*/ 7987 h 51323"/>
                <a:gd name="connsiteX904" fmla="*/ 23583 w 51323"/>
                <a:gd name="connsiteY904" fmla="*/ 8262 h 51323"/>
                <a:gd name="connsiteX905" fmla="*/ 23137 w 51323"/>
                <a:gd name="connsiteY905" fmla="*/ 8520 h 51323"/>
                <a:gd name="connsiteX906" fmla="*/ 22931 w 51323"/>
                <a:gd name="connsiteY906" fmla="*/ 8726 h 51323"/>
                <a:gd name="connsiteX907" fmla="*/ 22931 w 51323"/>
                <a:gd name="connsiteY907" fmla="*/ 8846 h 51323"/>
                <a:gd name="connsiteX908" fmla="*/ 23446 w 51323"/>
                <a:gd name="connsiteY908" fmla="*/ 9121 h 51323"/>
                <a:gd name="connsiteX909" fmla="*/ 23137 w 51323"/>
                <a:gd name="connsiteY909" fmla="*/ 9275 h 51323"/>
                <a:gd name="connsiteX910" fmla="*/ 21952 w 51323"/>
                <a:gd name="connsiteY910" fmla="*/ 9396 h 51323"/>
                <a:gd name="connsiteX911" fmla="*/ 21831 w 51323"/>
                <a:gd name="connsiteY911" fmla="*/ 9653 h 51323"/>
                <a:gd name="connsiteX912" fmla="*/ 20560 w 51323"/>
                <a:gd name="connsiteY912" fmla="*/ 10117 h 51323"/>
                <a:gd name="connsiteX913" fmla="*/ 23669 w 51323"/>
                <a:gd name="connsiteY913" fmla="*/ 11440 h 51323"/>
                <a:gd name="connsiteX914" fmla="*/ 23412 w 51323"/>
                <a:gd name="connsiteY914" fmla="*/ 11440 h 51323"/>
                <a:gd name="connsiteX915" fmla="*/ 23274 w 51323"/>
                <a:gd name="connsiteY915" fmla="*/ 11319 h 51323"/>
                <a:gd name="connsiteX916" fmla="*/ 23274 w 51323"/>
                <a:gd name="connsiteY916" fmla="*/ 11319 h 51323"/>
                <a:gd name="connsiteX917" fmla="*/ 22965 w 51323"/>
                <a:gd name="connsiteY917" fmla="*/ 11319 h 51323"/>
                <a:gd name="connsiteX918" fmla="*/ 22965 w 51323"/>
                <a:gd name="connsiteY918" fmla="*/ 11319 h 51323"/>
                <a:gd name="connsiteX919" fmla="*/ 22965 w 51323"/>
                <a:gd name="connsiteY919" fmla="*/ 11233 h 51323"/>
                <a:gd name="connsiteX920" fmla="*/ 22965 w 51323"/>
                <a:gd name="connsiteY920" fmla="*/ 11233 h 51323"/>
                <a:gd name="connsiteX921" fmla="*/ 23206 w 51323"/>
                <a:gd name="connsiteY921" fmla="*/ 11148 h 51323"/>
                <a:gd name="connsiteX922" fmla="*/ 23206 w 51323"/>
                <a:gd name="connsiteY922" fmla="*/ 11027 h 51323"/>
                <a:gd name="connsiteX923" fmla="*/ 23206 w 51323"/>
                <a:gd name="connsiteY923" fmla="*/ 10941 h 51323"/>
                <a:gd name="connsiteX924" fmla="*/ 22948 w 51323"/>
                <a:gd name="connsiteY924" fmla="*/ 10821 h 51323"/>
                <a:gd name="connsiteX925" fmla="*/ 23223 w 51323"/>
                <a:gd name="connsiteY925" fmla="*/ 10821 h 51323"/>
                <a:gd name="connsiteX926" fmla="*/ 23412 w 51323"/>
                <a:gd name="connsiteY926" fmla="*/ 10718 h 51323"/>
                <a:gd name="connsiteX927" fmla="*/ 23412 w 51323"/>
                <a:gd name="connsiteY927" fmla="*/ 10718 h 51323"/>
                <a:gd name="connsiteX928" fmla="*/ 23412 w 51323"/>
                <a:gd name="connsiteY928" fmla="*/ 10632 h 51323"/>
                <a:gd name="connsiteX929" fmla="*/ 23412 w 51323"/>
                <a:gd name="connsiteY929" fmla="*/ 10632 h 51323"/>
                <a:gd name="connsiteX930" fmla="*/ 23412 w 51323"/>
                <a:gd name="connsiteY930" fmla="*/ 10632 h 51323"/>
                <a:gd name="connsiteX931" fmla="*/ 23412 w 51323"/>
                <a:gd name="connsiteY931" fmla="*/ 10632 h 51323"/>
                <a:gd name="connsiteX932" fmla="*/ 23291 w 51323"/>
                <a:gd name="connsiteY932" fmla="*/ 10632 h 51323"/>
                <a:gd name="connsiteX933" fmla="*/ 23291 w 51323"/>
                <a:gd name="connsiteY933" fmla="*/ 10632 h 51323"/>
                <a:gd name="connsiteX934" fmla="*/ 23291 w 51323"/>
                <a:gd name="connsiteY934" fmla="*/ 10632 h 51323"/>
                <a:gd name="connsiteX935" fmla="*/ 23291 w 51323"/>
                <a:gd name="connsiteY935" fmla="*/ 10632 h 51323"/>
                <a:gd name="connsiteX936" fmla="*/ 23291 w 51323"/>
                <a:gd name="connsiteY936" fmla="*/ 10632 h 51323"/>
                <a:gd name="connsiteX937" fmla="*/ 23291 w 51323"/>
                <a:gd name="connsiteY937" fmla="*/ 10632 h 51323"/>
                <a:gd name="connsiteX938" fmla="*/ 23291 w 51323"/>
                <a:gd name="connsiteY938" fmla="*/ 10632 h 51323"/>
                <a:gd name="connsiteX939" fmla="*/ 23291 w 51323"/>
                <a:gd name="connsiteY939" fmla="*/ 10478 h 51323"/>
                <a:gd name="connsiteX940" fmla="*/ 23291 w 51323"/>
                <a:gd name="connsiteY940" fmla="*/ 10581 h 51323"/>
                <a:gd name="connsiteX941" fmla="*/ 23291 w 51323"/>
                <a:gd name="connsiteY941" fmla="*/ 10581 h 51323"/>
                <a:gd name="connsiteX942" fmla="*/ 23291 w 51323"/>
                <a:gd name="connsiteY942" fmla="*/ 10581 h 51323"/>
                <a:gd name="connsiteX943" fmla="*/ 23291 w 51323"/>
                <a:gd name="connsiteY943" fmla="*/ 10667 h 51323"/>
                <a:gd name="connsiteX944" fmla="*/ 23291 w 51323"/>
                <a:gd name="connsiteY944" fmla="*/ 10787 h 51323"/>
                <a:gd name="connsiteX945" fmla="*/ 23291 w 51323"/>
                <a:gd name="connsiteY945" fmla="*/ 10873 h 51323"/>
                <a:gd name="connsiteX946" fmla="*/ 23429 w 51323"/>
                <a:gd name="connsiteY946" fmla="*/ 10701 h 51323"/>
                <a:gd name="connsiteX947" fmla="*/ 23601 w 51323"/>
                <a:gd name="connsiteY947" fmla="*/ 10461 h 51323"/>
                <a:gd name="connsiteX948" fmla="*/ 23601 w 51323"/>
                <a:gd name="connsiteY948" fmla="*/ 10598 h 51323"/>
                <a:gd name="connsiteX949" fmla="*/ 23790 w 51323"/>
                <a:gd name="connsiteY949" fmla="*/ 10478 h 51323"/>
                <a:gd name="connsiteX950" fmla="*/ 23790 w 51323"/>
                <a:gd name="connsiteY950" fmla="*/ 10787 h 51323"/>
                <a:gd name="connsiteX951" fmla="*/ 23961 w 51323"/>
                <a:gd name="connsiteY951" fmla="*/ 10512 h 51323"/>
                <a:gd name="connsiteX952" fmla="*/ 24099 w 51323"/>
                <a:gd name="connsiteY952" fmla="*/ 10512 h 51323"/>
                <a:gd name="connsiteX953" fmla="*/ 24322 w 51323"/>
                <a:gd name="connsiteY953" fmla="*/ 10512 h 51323"/>
                <a:gd name="connsiteX954" fmla="*/ 24528 w 51323"/>
                <a:gd name="connsiteY954" fmla="*/ 10512 h 51323"/>
                <a:gd name="connsiteX955" fmla="*/ 24528 w 51323"/>
                <a:gd name="connsiteY955" fmla="*/ 10632 h 51323"/>
                <a:gd name="connsiteX956" fmla="*/ 24528 w 51323"/>
                <a:gd name="connsiteY956" fmla="*/ 10804 h 51323"/>
                <a:gd name="connsiteX957" fmla="*/ 24528 w 51323"/>
                <a:gd name="connsiteY957" fmla="*/ 10804 h 51323"/>
                <a:gd name="connsiteX958" fmla="*/ 24528 w 51323"/>
                <a:gd name="connsiteY958" fmla="*/ 10924 h 51323"/>
                <a:gd name="connsiteX959" fmla="*/ 24528 w 51323"/>
                <a:gd name="connsiteY959" fmla="*/ 11148 h 51323"/>
                <a:gd name="connsiteX960" fmla="*/ 24288 w 51323"/>
                <a:gd name="connsiteY960" fmla="*/ 11148 h 51323"/>
                <a:gd name="connsiteX961" fmla="*/ 23978 w 51323"/>
                <a:gd name="connsiteY961" fmla="*/ 11388 h 51323"/>
                <a:gd name="connsiteX962" fmla="*/ 23978 w 51323"/>
                <a:gd name="connsiteY962" fmla="*/ 11388 h 51323"/>
                <a:gd name="connsiteX963" fmla="*/ 23790 w 51323"/>
                <a:gd name="connsiteY963" fmla="*/ 11388 h 51323"/>
                <a:gd name="connsiteX964" fmla="*/ 23790 w 51323"/>
                <a:gd name="connsiteY964" fmla="*/ 11388 h 51323"/>
                <a:gd name="connsiteX965" fmla="*/ 23669 w 51323"/>
                <a:gd name="connsiteY965" fmla="*/ 11440 h 51323"/>
                <a:gd name="connsiteX966" fmla="*/ 38184 w 51323"/>
                <a:gd name="connsiteY966" fmla="*/ 41533 h 51323"/>
                <a:gd name="connsiteX967" fmla="*/ 38802 w 51323"/>
                <a:gd name="connsiteY967" fmla="*/ 40640 h 51323"/>
                <a:gd name="connsiteX968" fmla="*/ 39540 w 51323"/>
                <a:gd name="connsiteY968" fmla="*/ 39523 h 51323"/>
                <a:gd name="connsiteX969" fmla="*/ 39540 w 51323"/>
                <a:gd name="connsiteY969" fmla="*/ 39523 h 51323"/>
                <a:gd name="connsiteX970" fmla="*/ 39540 w 51323"/>
                <a:gd name="connsiteY970" fmla="*/ 39523 h 51323"/>
                <a:gd name="connsiteX971" fmla="*/ 39781 w 51323"/>
                <a:gd name="connsiteY971" fmla="*/ 39386 h 51323"/>
                <a:gd name="connsiteX972" fmla="*/ 39953 w 51323"/>
                <a:gd name="connsiteY972" fmla="*/ 39386 h 51323"/>
                <a:gd name="connsiteX973" fmla="*/ 39953 w 51323"/>
                <a:gd name="connsiteY973" fmla="*/ 39386 h 51323"/>
                <a:gd name="connsiteX974" fmla="*/ 39953 w 51323"/>
                <a:gd name="connsiteY974" fmla="*/ 39248 h 51323"/>
                <a:gd name="connsiteX975" fmla="*/ 39953 w 51323"/>
                <a:gd name="connsiteY975" fmla="*/ 39248 h 51323"/>
                <a:gd name="connsiteX976" fmla="*/ 39953 w 51323"/>
                <a:gd name="connsiteY976" fmla="*/ 39248 h 51323"/>
                <a:gd name="connsiteX977" fmla="*/ 39953 w 51323"/>
                <a:gd name="connsiteY977" fmla="*/ 39369 h 51323"/>
                <a:gd name="connsiteX978" fmla="*/ 40107 w 51323"/>
                <a:gd name="connsiteY978" fmla="*/ 39266 h 51323"/>
                <a:gd name="connsiteX979" fmla="*/ 40107 w 51323"/>
                <a:gd name="connsiteY979" fmla="*/ 39145 h 51323"/>
                <a:gd name="connsiteX980" fmla="*/ 40107 w 51323"/>
                <a:gd name="connsiteY980" fmla="*/ 39042 h 51323"/>
                <a:gd name="connsiteX981" fmla="*/ 40262 w 51323"/>
                <a:gd name="connsiteY981" fmla="*/ 38939 h 51323"/>
                <a:gd name="connsiteX982" fmla="*/ 40485 w 51323"/>
                <a:gd name="connsiteY982" fmla="*/ 38561 h 51323"/>
                <a:gd name="connsiteX983" fmla="*/ 40674 w 51323"/>
                <a:gd name="connsiteY983" fmla="*/ 38441 h 51323"/>
                <a:gd name="connsiteX984" fmla="*/ 40674 w 51323"/>
                <a:gd name="connsiteY984" fmla="*/ 38664 h 51323"/>
                <a:gd name="connsiteX985" fmla="*/ 38184 w 51323"/>
                <a:gd name="connsiteY985" fmla="*/ 41533 h 51323"/>
                <a:gd name="connsiteX986" fmla="*/ 49159 w 51323"/>
                <a:gd name="connsiteY986" fmla="*/ 26589 h 51323"/>
                <a:gd name="connsiteX987" fmla="*/ 49159 w 51323"/>
                <a:gd name="connsiteY987" fmla="*/ 26589 h 51323"/>
                <a:gd name="connsiteX988" fmla="*/ 48386 w 51323"/>
                <a:gd name="connsiteY988" fmla="*/ 30643 h 51323"/>
                <a:gd name="connsiteX989" fmla="*/ 48215 w 51323"/>
                <a:gd name="connsiteY989" fmla="*/ 30849 h 51323"/>
                <a:gd name="connsiteX990" fmla="*/ 47613 w 51323"/>
                <a:gd name="connsiteY990" fmla="*/ 26452 h 51323"/>
                <a:gd name="connsiteX991" fmla="*/ 47613 w 51323"/>
                <a:gd name="connsiteY991" fmla="*/ 26160 h 51323"/>
                <a:gd name="connsiteX992" fmla="*/ 47528 w 51323"/>
                <a:gd name="connsiteY992" fmla="*/ 26160 h 51323"/>
                <a:gd name="connsiteX993" fmla="*/ 47098 w 51323"/>
                <a:gd name="connsiteY993" fmla="*/ 26606 h 51323"/>
                <a:gd name="connsiteX994" fmla="*/ 46995 w 51323"/>
                <a:gd name="connsiteY994" fmla="*/ 26383 h 51323"/>
                <a:gd name="connsiteX995" fmla="*/ 46995 w 51323"/>
                <a:gd name="connsiteY995" fmla="*/ 26383 h 51323"/>
                <a:gd name="connsiteX996" fmla="*/ 46995 w 51323"/>
                <a:gd name="connsiteY996" fmla="*/ 26383 h 51323"/>
                <a:gd name="connsiteX997" fmla="*/ 47081 w 51323"/>
                <a:gd name="connsiteY997" fmla="*/ 26040 h 51323"/>
                <a:gd name="connsiteX998" fmla="*/ 46806 w 51323"/>
                <a:gd name="connsiteY998" fmla="*/ 25833 h 51323"/>
                <a:gd name="connsiteX999" fmla="*/ 46686 w 51323"/>
                <a:gd name="connsiteY999" fmla="*/ 25971 h 51323"/>
                <a:gd name="connsiteX1000" fmla="*/ 46549 w 51323"/>
                <a:gd name="connsiteY1000" fmla="*/ 25971 h 51323"/>
                <a:gd name="connsiteX1001" fmla="*/ 46428 w 51323"/>
                <a:gd name="connsiteY1001" fmla="*/ 25559 h 51323"/>
                <a:gd name="connsiteX1002" fmla="*/ 46119 w 51323"/>
                <a:gd name="connsiteY1002" fmla="*/ 25438 h 51323"/>
                <a:gd name="connsiteX1003" fmla="*/ 45913 w 51323"/>
                <a:gd name="connsiteY1003" fmla="*/ 25610 h 51323"/>
                <a:gd name="connsiteX1004" fmla="*/ 45741 w 51323"/>
                <a:gd name="connsiteY1004" fmla="*/ 25610 h 51323"/>
                <a:gd name="connsiteX1005" fmla="*/ 45552 w 51323"/>
                <a:gd name="connsiteY1005" fmla="*/ 25765 h 51323"/>
                <a:gd name="connsiteX1006" fmla="*/ 45432 w 51323"/>
                <a:gd name="connsiteY1006" fmla="*/ 25765 h 51323"/>
                <a:gd name="connsiteX1007" fmla="*/ 45209 w 51323"/>
                <a:gd name="connsiteY1007" fmla="*/ 25679 h 51323"/>
                <a:gd name="connsiteX1008" fmla="*/ 44728 w 51323"/>
                <a:gd name="connsiteY1008" fmla="*/ 25679 h 51323"/>
                <a:gd name="connsiteX1009" fmla="*/ 44453 w 51323"/>
                <a:gd name="connsiteY1009" fmla="*/ 25679 h 51323"/>
                <a:gd name="connsiteX1010" fmla="*/ 43663 w 51323"/>
                <a:gd name="connsiteY1010" fmla="*/ 25404 h 51323"/>
                <a:gd name="connsiteX1011" fmla="*/ 43285 w 51323"/>
                <a:gd name="connsiteY1011" fmla="*/ 25146 h 51323"/>
                <a:gd name="connsiteX1012" fmla="*/ 42804 w 51323"/>
                <a:gd name="connsiteY1012" fmla="*/ 24803 h 51323"/>
                <a:gd name="connsiteX1013" fmla="*/ 42804 w 51323"/>
                <a:gd name="connsiteY1013" fmla="*/ 24803 h 51323"/>
                <a:gd name="connsiteX1014" fmla="*/ 42375 w 51323"/>
                <a:gd name="connsiteY1014" fmla="*/ 24425 h 51323"/>
                <a:gd name="connsiteX1015" fmla="*/ 42272 w 51323"/>
                <a:gd name="connsiteY1015" fmla="*/ 24270 h 51323"/>
                <a:gd name="connsiteX1016" fmla="*/ 42272 w 51323"/>
                <a:gd name="connsiteY1016" fmla="*/ 24270 h 51323"/>
                <a:gd name="connsiteX1017" fmla="*/ 42272 w 51323"/>
                <a:gd name="connsiteY1017" fmla="*/ 24270 h 51323"/>
                <a:gd name="connsiteX1018" fmla="*/ 42100 w 51323"/>
                <a:gd name="connsiteY1018" fmla="*/ 24597 h 51323"/>
                <a:gd name="connsiteX1019" fmla="*/ 42220 w 51323"/>
                <a:gd name="connsiteY1019" fmla="*/ 24597 h 51323"/>
                <a:gd name="connsiteX1020" fmla="*/ 42220 w 51323"/>
                <a:gd name="connsiteY1020" fmla="*/ 24597 h 51323"/>
                <a:gd name="connsiteX1021" fmla="*/ 42220 w 51323"/>
                <a:gd name="connsiteY1021" fmla="*/ 24734 h 51323"/>
                <a:gd name="connsiteX1022" fmla="*/ 42220 w 51323"/>
                <a:gd name="connsiteY1022" fmla="*/ 24734 h 51323"/>
                <a:gd name="connsiteX1023" fmla="*/ 42512 w 51323"/>
                <a:gd name="connsiteY1023" fmla="*/ 25112 h 51323"/>
                <a:gd name="connsiteX1024" fmla="*/ 42770 w 51323"/>
                <a:gd name="connsiteY1024" fmla="*/ 25610 h 51323"/>
                <a:gd name="connsiteX1025" fmla="*/ 42770 w 51323"/>
                <a:gd name="connsiteY1025" fmla="*/ 25610 h 51323"/>
                <a:gd name="connsiteX1026" fmla="*/ 43045 w 51323"/>
                <a:gd name="connsiteY1026" fmla="*/ 25782 h 51323"/>
                <a:gd name="connsiteX1027" fmla="*/ 43165 w 51323"/>
                <a:gd name="connsiteY1027" fmla="*/ 25627 h 51323"/>
                <a:gd name="connsiteX1028" fmla="*/ 43165 w 51323"/>
                <a:gd name="connsiteY1028" fmla="*/ 26108 h 51323"/>
                <a:gd name="connsiteX1029" fmla="*/ 43165 w 51323"/>
                <a:gd name="connsiteY1029" fmla="*/ 26211 h 51323"/>
                <a:gd name="connsiteX1030" fmla="*/ 43165 w 51323"/>
                <a:gd name="connsiteY1030" fmla="*/ 26366 h 51323"/>
                <a:gd name="connsiteX1031" fmla="*/ 43766 w 51323"/>
                <a:gd name="connsiteY1031" fmla="*/ 26091 h 51323"/>
                <a:gd name="connsiteX1032" fmla="*/ 43766 w 51323"/>
                <a:gd name="connsiteY1032" fmla="*/ 26091 h 51323"/>
                <a:gd name="connsiteX1033" fmla="*/ 44058 w 51323"/>
                <a:gd name="connsiteY1033" fmla="*/ 25318 h 51323"/>
                <a:gd name="connsiteX1034" fmla="*/ 44058 w 51323"/>
                <a:gd name="connsiteY1034" fmla="*/ 25318 h 51323"/>
                <a:gd name="connsiteX1035" fmla="*/ 44058 w 51323"/>
                <a:gd name="connsiteY1035" fmla="*/ 25215 h 51323"/>
                <a:gd name="connsiteX1036" fmla="*/ 44058 w 51323"/>
                <a:gd name="connsiteY1036" fmla="*/ 25507 h 51323"/>
                <a:gd name="connsiteX1037" fmla="*/ 44642 w 51323"/>
                <a:gd name="connsiteY1037" fmla="*/ 26091 h 51323"/>
                <a:gd name="connsiteX1038" fmla="*/ 44642 w 51323"/>
                <a:gd name="connsiteY1038" fmla="*/ 27311 h 51323"/>
                <a:gd name="connsiteX1039" fmla="*/ 44642 w 51323"/>
                <a:gd name="connsiteY1039" fmla="*/ 27877 h 51323"/>
                <a:gd name="connsiteX1040" fmla="*/ 44109 w 51323"/>
                <a:gd name="connsiteY1040" fmla="*/ 28376 h 51323"/>
                <a:gd name="connsiteX1041" fmla="*/ 44109 w 51323"/>
                <a:gd name="connsiteY1041" fmla="*/ 28719 h 51323"/>
                <a:gd name="connsiteX1042" fmla="*/ 43457 w 51323"/>
                <a:gd name="connsiteY1042" fmla="*/ 29114 h 51323"/>
                <a:gd name="connsiteX1043" fmla="*/ 42684 w 51323"/>
                <a:gd name="connsiteY1043" fmla="*/ 29767 h 51323"/>
                <a:gd name="connsiteX1044" fmla="*/ 42357 w 51323"/>
                <a:gd name="connsiteY1044" fmla="*/ 29990 h 51323"/>
                <a:gd name="connsiteX1045" fmla="*/ 41791 w 51323"/>
                <a:gd name="connsiteY1045" fmla="*/ 30248 h 51323"/>
                <a:gd name="connsiteX1046" fmla="*/ 41172 w 51323"/>
                <a:gd name="connsiteY1046" fmla="*/ 30626 h 51323"/>
                <a:gd name="connsiteX1047" fmla="*/ 40897 w 51323"/>
                <a:gd name="connsiteY1047" fmla="*/ 29629 h 51323"/>
                <a:gd name="connsiteX1048" fmla="*/ 39850 w 51323"/>
                <a:gd name="connsiteY1048" fmla="*/ 27706 h 51323"/>
                <a:gd name="connsiteX1049" fmla="*/ 39283 w 51323"/>
                <a:gd name="connsiteY1049" fmla="*/ 26606 h 51323"/>
                <a:gd name="connsiteX1050" fmla="*/ 38338 w 51323"/>
                <a:gd name="connsiteY1050" fmla="*/ 24751 h 51323"/>
                <a:gd name="connsiteX1051" fmla="*/ 38201 w 51323"/>
                <a:gd name="connsiteY1051" fmla="*/ 25438 h 51323"/>
                <a:gd name="connsiteX1052" fmla="*/ 37548 w 51323"/>
                <a:gd name="connsiteY1052" fmla="*/ 24717 h 51323"/>
                <a:gd name="connsiteX1053" fmla="*/ 38682 w 51323"/>
                <a:gd name="connsiteY1053" fmla="*/ 26692 h 51323"/>
                <a:gd name="connsiteX1054" fmla="*/ 38682 w 51323"/>
                <a:gd name="connsiteY1054" fmla="*/ 26692 h 51323"/>
                <a:gd name="connsiteX1055" fmla="*/ 38819 w 51323"/>
                <a:gd name="connsiteY1055" fmla="*/ 26830 h 51323"/>
                <a:gd name="connsiteX1056" fmla="*/ 38699 w 51323"/>
                <a:gd name="connsiteY1056" fmla="*/ 26830 h 51323"/>
                <a:gd name="connsiteX1057" fmla="*/ 39317 w 51323"/>
                <a:gd name="connsiteY1057" fmla="*/ 27826 h 51323"/>
                <a:gd name="connsiteX1058" fmla="*/ 39317 w 51323"/>
                <a:gd name="connsiteY1058" fmla="*/ 28376 h 51323"/>
                <a:gd name="connsiteX1059" fmla="*/ 39712 w 51323"/>
                <a:gd name="connsiteY1059" fmla="*/ 28891 h 51323"/>
                <a:gd name="connsiteX1060" fmla="*/ 40021 w 51323"/>
                <a:gd name="connsiteY1060" fmla="*/ 29715 h 51323"/>
                <a:gd name="connsiteX1061" fmla="*/ 40021 w 51323"/>
                <a:gd name="connsiteY1061" fmla="*/ 29801 h 51323"/>
                <a:gd name="connsiteX1062" fmla="*/ 40193 w 51323"/>
                <a:gd name="connsiteY1062" fmla="*/ 29939 h 51323"/>
                <a:gd name="connsiteX1063" fmla="*/ 40932 w 51323"/>
                <a:gd name="connsiteY1063" fmla="*/ 30626 h 51323"/>
                <a:gd name="connsiteX1064" fmla="*/ 41035 w 51323"/>
                <a:gd name="connsiteY1064" fmla="*/ 30746 h 51323"/>
                <a:gd name="connsiteX1065" fmla="*/ 40794 w 51323"/>
                <a:gd name="connsiteY1065" fmla="*/ 31038 h 51323"/>
                <a:gd name="connsiteX1066" fmla="*/ 41327 w 51323"/>
                <a:gd name="connsiteY1066" fmla="*/ 31450 h 51323"/>
                <a:gd name="connsiteX1067" fmla="*/ 42770 w 51323"/>
                <a:gd name="connsiteY1067" fmla="*/ 30901 h 51323"/>
                <a:gd name="connsiteX1068" fmla="*/ 42993 w 51323"/>
                <a:gd name="connsiteY1068" fmla="*/ 30660 h 51323"/>
                <a:gd name="connsiteX1069" fmla="*/ 42993 w 51323"/>
                <a:gd name="connsiteY1069" fmla="*/ 31210 h 51323"/>
                <a:gd name="connsiteX1070" fmla="*/ 42993 w 51323"/>
                <a:gd name="connsiteY1070" fmla="*/ 31210 h 51323"/>
                <a:gd name="connsiteX1071" fmla="*/ 38922 w 51323"/>
                <a:gd name="connsiteY1071" fmla="*/ 37033 h 51323"/>
                <a:gd name="connsiteX1072" fmla="*/ 38802 w 51323"/>
                <a:gd name="connsiteY1072" fmla="*/ 37307 h 51323"/>
                <a:gd name="connsiteX1073" fmla="*/ 38802 w 51323"/>
                <a:gd name="connsiteY1073" fmla="*/ 38012 h 51323"/>
                <a:gd name="connsiteX1074" fmla="*/ 38355 w 51323"/>
                <a:gd name="connsiteY1074" fmla="*/ 39248 h 51323"/>
                <a:gd name="connsiteX1075" fmla="*/ 38355 w 51323"/>
                <a:gd name="connsiteY1075" fmla="*/ 39351 h 51323"/>
                <a:gd name="connsiteX1076" fmla="*/ 37119 w 51323"/>
                <a:gd name="connsiteY1076" fmla="*/ 40193 h 51323"/>
                <a:gd name="connsiteX1077" fmla="*/ 37119 w 51323"/>
                <a:gd name="connsiteY1077" fmla="*/ 40193 h 51323"/>
                <a:gd name="connsiteX1078" fmla="*/ 36311 w 51323"/>
                <a:gd name="connsiteY1078" fmla="*/ 40691 h 51323"/>
                <a:gd name="connsiteX1079" fmla="*/ 36311 w 51323"/>
                <a:gd name="connsiteY1079" fmla="*/ 40880 h 51323"/>
                <a:gd name="connsiteX1080" fmla="*/ 36311 w 51323"/>
                <a:gd name="connsiteY1080" fmla="*/ 41035 h 51323"/>
                <a:gd name="connsiteX1081" fmla="*/ 36311 w 51323"/>
                <a:gd name="connsiteY1081" fmla="*/ 41395 h 51323"/>
                <a:gd name="connsiteX1082" fmla="*/ 36311 w 51323"/>
                <a:gd name="connsiteY1082" fmla="*/ 41292 h 51323"/>
                <a:gd name="connsiteX1083" fmla="*/ 36311 w 51323"/>
                <a:gd name="connsiteY1083" fmla="*/ 41292 h 51323"/>
                <a:gd name="connsiteX1084" fmla="*/ 36311 w 51323"/>
                <a:gd name="connsiteY1084" fmla="*/ 41292 h 51323"/>
                <a:gd name="connsiteX1085" fmla="*/ 36054 w 51323"/>
                <a:gd name="connsiteY1085" fmla="*/ 41705 h 51323"/>
                <a:gd name="connsiteX1086" fmla="*/ 36054 w 51323"/>
                <a:gd name="connsiteY1086" fmla="*/ 41705 h 51323"/>
                <a:gd name="connsiteX1087" fmla="*/ 35006 w 51323"/>
                <a:gd name="connsiteY1087" fmla="*/ 42392 h 51323"/>
                <a:gd name="connsiteX1088" fmla="*/ 35126 w 51323"/>
                <a:gd name="connsiteY1088" fmla="*/ 42392 h 51323"/>
                <a:gd name="connsiteX1089" fmla="*/ 34954 w 51323"/>
                <a:gd name="connsiteY1089" fmla="*/ 42598 h 51323"/>
                <a:gd name="connsiteX1090" fmla="*/ 34954 w 51323"/>
                <a:gd name="connsiteY1090" fmla="*/ 42598 h 51323"/>
                <a:gd name="connsiteX1091" fmla="*/ 32051 w 51323"/>
                <a:gd name="connsiteY1091" fmla="*/ 44315 h 51323"/>
                <a:gd name="connsiteX1092" fmla="*/ 30660 w 51323"/>
                <a:gd name="connsiteY1092" fmla="*/ 44418 h 51323"/>
                <a:gd name="connsiteX1093" fmla="*/ 30660 w 51323"/>
                <a:gd name="connsiteY1093" fmla="*/ 44418 h 51323"/>
                <a:gd name="connsiteX1094" fmla="*/ 30660 w 51323"/>
                <a:gd name="connsiteY1094" fmla="*/ 44418 h 51323"/>
                <a:gd name="connsiteX1095" fmla="*/ 30660 w 51323"/>
                <a:gd name="connsiteY1095" fmla="*/ 44092 h 51323"/>
                <a:gd name="connsiteX1096" fmla="*/ 30660 w 51323"/>
                <a:gd name="connsiteY1096" fmla="*/ 43199 h 51323"/>
                <a:gd name="connsiteX1097" fmla="*/ 29836 w 51323"/>
                <a:gd name="connsiteY1097" fmla="*/ 40296 h 51323"/>
                <a:gd name="connsiteX1098" fmla="*/ 30591 w 51323"/>
                <a:gd name="connsiteY1098" fmla="*/ 38046 h 51323"/>
                <a:gd name="connsiteX1099" fmla="*/ 30471 w 51323"/>
                <a:gd name="connsiteY1099" fmla="*/ 37204 h 51323"/>
                <a:gd name="connsiteX1100" fmla="*/ 30574 w 51323"/>
                <a:gd name="connsiteY1100" fmla="*/ 37204 h 51323"/>
                <a:gd name="connsiteX1101" fmla="*/ 30454 w 51323"/>
                <a:gd name="connsiteY1101" fmla="*/ 37050 h 51323"/>
                <a:gd name="connsiteX1102" fmla="*/ 29423 w 51323"/>
                <a:gd name="connsiteY1102" fmla="*/ 35607 h 51323"/>
                <a:gd name="connsiteX1103" fmla="*/ 29630 w 51323"/>
                <a:gd name="connsiteY1103" fmla="*/ 35298 h 51323"/>
                <a:gd name="connsiteX1104" fmla="*/ 29819 w 51323"/>
                <a:gd name="connsiteY1104" fmla="*/ 35298 h 51323"/>
                <a:gd name="connsiteX1105" fmla="*/ 29647 w 51323"/>
                <a:gd name="connsiteY1105" fmla="*/ 35177 h 51323"/>
                <a:gd name="connsiteX1106" fmla="*/ 29647 w 51323"/>
                <a:gd name="connsiteY1106" fmla="*/ 35040 h 51323"/>
                <a:gd name="connsiteX1107" fmla="*/ 29836 w 51323"/>
                <a:gd name="connsiteY1107" fmla="*/ 34095 h 51323"/>
                <a:gd name="connsiteX1108" fmla="*/ 29612 w 51323"/>
                <a:gd name="connsiteY1108" fmla="*/ 33906 h 51323"/>
                <a:gd name="connsiteX1109" fmla="*/ 29423 w 51323"/>
                <a:gd name="connsiteY1109" fmla="*/ 33906 h 51323"/>
                <a:gd name="connsiteX1110" fmla="*/ 28496 w 51323"/>
                <a:gd name="connsiteY1110" fmla="*/ 34044 h 51323"/>
                <a:gd name="connsiteX1111" fmla="*/ 25937 w 51323"/>
                <a:gd name="connsiteY1111" fmla="*/ 33821 h 51323"/>
                <a:gd name="connsiteX1112" fmla="*/ 22501 w 51323"/>
                <a:gd name="connsiteY1112" fmla="*/ 32687 h 51323"/>
                <a:gd name="connsiteX1113" fmla="*/ 22226 w 51323"/>
                <a:gd name="connsiteY1113" fmla="*/ 32361 h 51323"/>
                <a:gd name="connsiteX1114" fmla="*/ 22226 w 51323"/>
                <a:gd name="connsiteY1114" fmla="*/ 32137 h 51323"/>
                <a:gd name="connsiteX1115" fmla="*/ 21986 w 51323"/>
                <a:gd name="connsiteY1115" fmla="*/ 31828 h 51323"/>
                <a:gd name="connsiteX1116" fmla="*/ 21591 w 51323"/>
                <a:gd name="connsiteY1116" fmla="*/ 31536 h 51323"/>
                <a:gd name="connsiteX1117" fmla="*/ 21436 w 51323"/>
                <a:gd name="connsiteY1117" fmla="*/ 31450 h 51323"/>
                <a:gd name="connsiteX1118" fmla="*/ 21436 w 51323"/>
                <a:gd name="connsiteY1118" fmla="*/ 31450 h 51323"/>
                <a:gd name="connsiteX1119" fmla="*/ 21436 w 51323"/>
                <a:gd name="connsiteY1119" fmla="*/ 31450 h 51323"/>
                <a:gd name="connsiteX1120" fmla="*/ 21436 w 51323"/>
                <a:gd name="connsiteY1120" fmla="*/ 31347 h 51323"/>
                <a:gd name="connsiteX1121" fmla="*/ 21642 w 51323"/>
                <a:gd name="connsiteY1121" fmla="*/ 31347 h 51323"/>
                <a:gd name="connsiteX1122" fmla="*/ 21247 w 51323"/>
                <a:gd name="connsiteY1122" fmla="*/ 31158 h 51323"/>
                <a:gd name="connsiteX1123" fmla="*/ 21041 w 51323"/>
                <a:gd name="connsiteY1123" fmla="*/ 30986 h 51323"/>
                <a:gd name="connsiteX1124" fmla="*/ 21213 w 51323"/>
                <a:gd name="connsiteY1124" fmla="*/ 30986 h 51323"/>
                <a:gd name="connsiteX1125" fmla="*/ 21024 w 51323"/>
                <a:gd name="connsiteY1125" fmla="*/ 30986 h 51323"/>
                <a:gd name="connsiteX1126" fmla="*/ 21024 w 51323"/>
                <a:gd name="connsiteY1126" fmla="*/ 30780 h 51323"/>
                <a:gd name="connsiteX1127" fmla="*/ 21299 w 51323"/>
                <a:gd name="connsiteY1127" fmla="*/ 30780 h 51323"/>
                <a:gd name="connsiteX1128" fmla="*/ 21144 w 51323"/>
                <a:gd name="connsiteY1128" fmla="*/ 30626 h 51323"/>
                <a:gd name="connsiteX1129" fmla="*/ 21144 w 51323"/>
                <a:gd name="connsiteY1129" fmla="*/ 30626 h 51323"/>
                <a:gd name="connsiteX1130" fmla="*/ 20921 w 51323"/>
                <a:gd name="connsiteY1130" fmla="*/ 30299 h 51323"/>
                <a:gd name="connsiteX1131" fmla="*/ 21333 w 51323"/>
                <a:gd name="connsiteY1131" fmla="*/ 28582 h 51323"/>
                <a:gd name="connsiteX1132" fmla="*/ 21436 w 51323"/>
                <a:gd name="connsiteY1132" fmla="*/ 28358 h 51323"/>
                <a:gd name="connsiteX1133" fmla="*/ 21247 w 51323"/>
                <a:gd name="connsiteY1133" fmla="*/ 28135 h 51323"/>
                <a:gd name="connsiteX1134" fmla="*/ 21247 w 51323"/>
                <a:gd name="connsiteY1134" fmla="*/ 28221 h 51323"/>
                <a:gd name="connsiteX1135" fmla="*/ 21591 w 51323"/>
                <a:gd name="connsiteY1135" fmla="*/ 27465 h 51323"/>
                <a:gd name="connsiteX1136" fmla="*/ 23927 w 51323"/>
                <a:gd name="connsiteY1136" fmla="*/ 25043 h 51323"/>
                <a:gd name="connsiteX1137" fmla="*/ 23927 w 51323"/>
                <a:gd name="connsiteY1137" fmla="*/ 24562 h 51323"/>
                <a:gd name="connsiteX1138" fmla="*/ 24133 w 51323"/>
                <a:gd name="connsiteY1138" fmla="*/ 24081 h 51323"/>
                <a:gd name="connsiteX1139" fmla="*/ 25473 w 51323"/>
                <a:gd name="connsiteY1139" fmla="*/ 22896 h 51323"/>
                <a:gd name="connsiteX1140" fmla="*/ 26194 w 51323"/>
                <a:gd name="connsiteY1140" fmla="*/ 23102 h 51323"/>
                <a:gd name="connsiteX1141" fmla="*/ 27586 w 51323"/>
                <a:gd name="connsiteY1141" fmla="*/ 22725 h 51323"/>
                <a:gd name="connsiteX1142" fmla="*/ 29063 w 51323"/>
                <a:gd name="connsiteY1142" fmla="*/ 22587 h 51323"/>
                <a:gd name="connsiteX1143" fmla="*/ 29372 w 51323"/>
                <a:gd name="connsiteY1143" fmla="*/ 22587 h 51323"/>
                <a:gd name="connsiteX1144" fmla="*/ 30162 w 51323"/>
                <a:gd name="connsiteY1144" fmla="*/ 22587 h 51323"/>
                <a:gd name="connsiteX1145" fmla="*/ 30385 w 51323"/>
                <a:gd name="connsiteY1145" fmla="*/ 22776 h 51323"/>
                <a:gd name="connsiteX1146" fmla="*/ 30385 w 51323"/>
                <a:gd name="connsiteY1146" fmla="*/ 23017 h 51323"/>
                <a:gd name="connsiteX1147" fmla="*/ 30385 w 51323"/>
                <a:gd name="connsiteY1147" fmla="*/ 23910 h 51323"/>
                <a:gd name="connsiteX1148" fmla="*/ 30506 w 51323"/>
                <a:gd name="connsiteY1148" fmla="*/ 23910 h 51323"/>
                <a:gd name="connsiteX1149" fmla="*/ 30506 w 51323"/>
                <a:gd name="connsiteY1149" fmla="*/ 23910 h 51323"/>
                <a:gd name="connsiteX1150" fmla="*/ 31622 w 51323"/>
                <a:gd name="connsiteY1150" fmla="*/ 24236 h 51323"/>
                <a:gd name="connsiteX1151" fmla="*/ 34473 w 51323"/>
                <a:gd name="connsiteY1151" fmla="*/ 24236 h 51323"/>
                <a:gd name="connsiteX1152" fmla="*/ 36191 w 51323"/>
                <a:gd name="connsiteY1152" fmla="*/ 24700 h 51323"/>
                <a:gd name="connsiteX1153" fmla="*/ 37084 w 51323"/>
                <a:gd name="connsiteY1153" fmla="*/ 24494 h 51323"/>
                <a:gd name="connsiteX1154" fmla="*/ 37187 w 51323"/>
                <a:gd name="connsiteY1154" fmla="*/ 24494 h 51323"/>
                <a:gd name="connsiteX1155" fmla="*/ 37187 w 51323"/>
                <a:gd name="connsiteY1155" fmla="*/ 24494 h 51323"/>
                <a:gd name="connsiteX1156" fmla="*/ 37462 w 51323"/>
                <a:gd name="connsiteY1156" fmla="*/ 24494 h 51323"/>
                <a:gd name="connsiteX1157" fmla="*/ 37565 w 51323"/>
                <a:gd name="connsiteY1157" fmla="*/ 24665 h 51323"/>
                <a:gd name="connsiteX1158" fmla="*/ 37565 w 51323"/>
                <a:gd name="connsiteY1158" fmla="*/ 24494 h 51323"/>
                <a:gd name="connsiteX1159" fmla="*/ 38407 w 51323"/>
                <a:gd name="connsiteY1159" fmla="*/ 22381 h 51323"/>
                <a:gd name="connsiteX1160" fmla="*/ 37840 w 51323"/>
                <a:gd name="connsiteY1160" fmla="*/ 22656 h 51323"/>
                <a:gd name="connsiteX1161" fmla="*/ 36775 w 51323"/>
                <a:gd name="connsiteY1161" fmla="*/ 22656 h 51323"/>
                <a:gd name="connsiteX1162" fmla="*/ 36277 w 51323"/>
                <a:gd name="connsiteY1162" fmla="*/ 22536 h 51323"/>
                <a:gd name="connsiteX1163" fmla="*/ 36140 w 51323"/>
                <a:gd name="connsiteY1163" fmla="*/ 22536 h 51323"/>
                <a:gd name="connsiteX1164" fmla="*/ 35933 w 51323"/>
                <a:gd name="connsiteY1164" fmla="*/ 22536 h 51323"/>
                <a:gd name="connsiteX1165" fmla="*/ 35727 w 51323"/>
                <a:gd name="connsiteY1165" fmla="*/ 22536 h 51323"/>
                <a:gd name="connsiteX1166" fmla="*/ 35951 w 51323"/>
                <a:gd name="connsiteY1166" fmla="*/ 22398 h 51323"/>
                <a:gd name="connsiteX1167" fmla="*/ 35762 w 51323"/>
                <a:gd name="connsiteY1167" fmla="*/ 22398 h 51323"/>
                <a:gd name="connsiteX1168" fmla="*/ 35401 w 51323"/>
                <a:gd name="connsiteY1168" fmla="*/ 22020 h 51323"/>
                <a:gd name="connsiteX1169" fmla="*/ 35401 w 51323"/>
                <a:gd name="connsiteY1169" fmla="*/ 21831 h 51323"/>
                <a:gd name="connsiteX1170" fmla="*/ 35573 w 51323"/>
                <a:gd name="connsiteY1170" fmla="*/ 21831 h 51323"/>
                <a:gd name="connsiteX1171" fmla="*/ 35573 w 51323"/>
                <a:gd name="connsiteY1171" fmla="*/ 21831 h 51323"/>
                <a:gd name="connsiteX1172" fmla="*/ 35676 w 51323"/>
                <a:gd name="connsiteY1172" fmla="*/ 21694 h 51323"/>
                <a:gd name="connsiteX1173" fmla="*/ 35676 w 51323"/>
                <a:gd name="connsiteY1173" fmla="*/ 21488 h 51323"/>
                <a:gd name="connsiteX1174" fmla="*/ 35779 w 51323"/>
                <a:gd name="connsiteY1174" fmla="*/ 21179 h 51323"/>
                <a:gd name="connsiteX1175" fmla="*/ 36225 w 51323"/>
                <a:gd name="connsiteY1175" fmla="*/ 21179 h 51323"/>
                <a:gd name="connsiteX1176" fmla="*/ 36397 w 51323"/>
                <a:gd name="connsiteY1176" fmla="*/ 20990 h 51323"/>
                <a:gd name="connsiteX1177" fmla="*/ 36827 w 51323"/>
                <a:gd name="connsiteY1177" fmla="*/ 20784 h 51323"/>
                <a:gd name="connsiteX1178" fmla="*/ 37788 w 51323"/>
                <a:gd name="connsiteY1178" fmla="*/ 20371 h 51323"/>
                <a:gd name="connsiteX1179" fmla="*/ 38063 w 51323"/>
                <a:gd name="connsiteY1179" fmla="*/ 20371 h 51323"/>
                <a:gd name="connsiteX1180" fmla="*/ 38287 w 51323"/>
                <a:gd name="connsiteY1180" fmla="*/ 20526 h 51323"/>
                <a:gd name="connsiteX1181" fmla="*/ 37857 w 51323"/>
                <a:gd name="connsiteY1181" fmla="*/ 19049 h 51323"/>
                <a:gd name="connsiteX1182" fmla="*/ 37857 w 51323"/>
                <a:gd name="connsiteY1182" fmla="*/ 18911 h 51323"/>
                <a:gd name="connsiteX1183" fmla="*/ 37977 w 51323"/>
                <a:gd name="connsiteY1183" fmla="*/ 18791 h 51323"/>
                <a:gd name="connsiteX1184" fmla="*/ 37977 w 51323"/>
                <a:gd name="connsiteY1184" fmla="*/ 18551 h 51323"/>
                <a:gd name="connsiteX1185" fmla="*/ 37857 w 51323"/>
                <a:gd name="connsiteY1185" fmla="*/ 18448 h 51323"/>
                <a:gd name="connsiteX1186" fmla="*/ 38029 w 51323"/>
                <a:gd name="connsiteY1186" fmla="*/ 18448 h 51323"/>
                <a:gd name="connsiteX1187" fmla="*/ 38132 w 51323"/>
                <a:gd name="connsiteY1187" fmla="*/ 18224 h 51323"/>
                <a:gd name="connsiteX1188" fmla="*/ 37548 w 51323"/>
                <a:gd name="connsiteY1188" fmla="*/ 18499 h 51323"/>
                <a:gd name="connsiteX1189" fmla="*/ 37359 w 51323"/>
                <a:gd name="connsiteY1189" fmla="*/ 18499 h 51323"/>
                <a:gd name="connsiteX1190" fmla="*/ 37204 w 51323"/>
                <a:gd name="connsiteY1190" fmla="*/ 18499 h 51323"/>
                <a:gd name="connsiteX1191" fmla="*/ 37204 w 51323"/>
                <a:gd name="connsiteY1191" fmla="*/ 18705 h 51323"/>
                <a:gd name="connsiteX1192" fmla="*/ 37204 w 51323"/>
                <a:gd name="connsiteY1192" fmla="*/ 18568 h 51323"/>
                <a:gd name="connsiteX1193" fmla="*/ 36878 w 51323"/>
                <a:gd name="connsiteY1193" fmla="*/ 18791 h 51323"/>
                <a:gd name="connsiteX1194" fmla="*/ 37136 w 51323"/>
                <a:gd name="connsiteY1194" fmla="*/ 18946 h 51323"/>
                <a:gd name="connsiteX1195" fmla="*/ 37136 w 51323"/>
                <a:gd name="connsiteY1195" fmla="*/ 18946 h 51323"/>
                <a:gd name="connsiteX1196" fmla="*/ 37325 w 51323"/>
                <a:gd name="connsiteY1196" fmla="*/ 19049 h 51323"/>
                <a:gd name="connsiteX1197" fmla="*/ 37084 w 51323"/>
                <a:gd name="connsiteY1197" fmla="*/ 18705 h 51323"/>
                <a:gd name="connsiteX1198" fmla="*/ 37393 w 51323"/>
                <a:gd name="connsiteY1198" fmla="*/ 19014 h 51323"/>
                <a:gd name="connsiteX1199" fmla="*/ 37514 w 51323"/>
                <a:gd name="connsiteY1199" fmla="*/ 19014 h 51323"/>
                <a:gd name="connsiteX1200" fmla="*/ 37685 w 51323"/>
                <a:gd name="connsiteY1200" fmla="*/ 18929 h 51323"/>
                <a:gd name="connsiteX1201" fmla="*/ 37462 w 51323"/>
                <a:gd name="connsiteY1201" fmla="*/ 19100 h 51323"/>
                <a:gd name="connsiteX1202" fmla="*/ 36912 w 51323"/>
                <a:gd name="connsiteY1202" fmla="*/ 19100 h 51323"/>
                <a:gd name="connsiteX1203" fmla="*/ 36758 w 51323"/>
                <a:gd name="connsiteY1203" fmla="*/ 18860 h 51323"/>
                <a:gd name="connsiteX1204" fmla="*/ 36500 w 51323"/>
                <a:gd name="connsiteY1204" fmla="*/ 18740 h 51323"/>
                <a:gd name="connsiteX1205" fmla="*/ 36380 w 51323"/>
                <a:gd name="connsiteY1205" fmla="*/ 18619 h 51323"/>
                <a:gd name="connsiteX1206" fmla="*/ 36157 w 51323"/>
                <a:gd name="connsiteY1206" fmla="*/ 18619 h 51323"/>
                <a:gd name="connsiteX1207" fmla="*/ 36449 w 51323"/>
                <a:gd name="connsiteY1207" fmla="*/ 18619 h 51323"/>
                <a:gd name="connsiteX1208" fmla="*/ 36260 w 51323"/>
                <a:gd name="connsiteY1208" fmla="*/ 18619 h 51323"/>
                <a:gd name="connsiteX1209" fmla="*/ 36088 w 51323"/>
                <a:gd name="connsiteY1209" fmla="*/ 18740 h 51323"/>
                <a:gd name="connsiteX1210" fmla="*/ 35916 w 51323"/>
                <a:gd name="connsiteY1210" fmla="*/ 18946 h 51323"/>
                <a:gd name="connsiteX1211" fmla="*/ 35796 w 51323"/>
                <a:gd name="connsiteY1211" fmla="*/ 19083 h 51323"/>
                <a:gd name="connsiteX1212" fmla="*/ 35607 w 51323"/>
                <a:gd name="connsiteY1212" fmla="*/ 19598 h 51323"/>
                <a:gd name="connsiteX1213" fmla="*/ 35607 w 51323"/>
                <a:gd name="connsiteY1213" fmla="*/ 19993 h 51323"/>
                <a:gd name="connsiteX1214" fmla="*/ 35470 w 51323"/>
                <a:gd name="connsiteY1214" fmla="*/ 20251 h 51323"/>
                <a:gd name="connsiteX1215" fmla="*/ 35607 w 51323"/>
                <a:gd name="connsiteY1215" fmla="*/ 20698 h 51323"/>
                <a:gd name="connsiteX1216" fmla="*/ 35899 w 51323"/>
                <a:gd name="connsiteY1216" fmla="*/ 20990 h 51323"/>
                <a:gd name="connsiteX1217" fmla="*/ 35212 w 51323"/>
                <a:gd name="connsiteY1217" fmla="*/ 21333 h 51323"/>
                <a:gd name="connsiteX1218" fmla="*/ 35315 w 51323"/>
                <a:gd name="connsiteY1218" fmla="*/ 21144 h 51323"/>
                <a:gd name="connsiteX1219" fmla="*/ 34731 w 51323"/>
                <a:gd name="connsiteY1219" fmla="*/ 21144 h 51323"/>
                <a:gd name="connsiteX1220" fmla="*/ 34491 w 51323"/>
                <a:gd name="connsiteY1220" fmla="*/ 21230 h 51323"/>
                <a:gd name="connsiteX1221" fmla="*/ 34611 w 51323"/>
                <a:gd name="connsiteY1221" fmla="*/ 21385 h 51323"/>
                <a:gd name="connsiteX1222" fmla="*/ 34439 w 51323"/>
                <a:gd name="connsiteY1222" fmla="*/ 21385 h 51323"/>
                <a:gd name="connsiteX1223" fmla="*/ 34439 w 51323"/>
                <a:gd name="connsiteY1223" fmla="*/ 21471 h 51323"/>
                <a:gd name="connsiteX1224" fmla="*/ 34439 w 51323"/>
                <a:gd name="connsiteY1224" fmla="*/ 21471 h 51323"/>
                <a:gd name="connsiteX1225" fmla="*/ 34164 w 51323"/>
                <a:gd name="connsiteY1225" fmla="*/ 21282 h 51323"/>
                <a:gd name="connsiteX1226" fmla="*/ 34164 w 51323"/>
                <a:gd name="connsiteY1226" fmla="*/ 21522 h 51323"/>
                <a:gd name="connsiteX1227" fmla="*/ 34164 w 51323"/>
                <a:gd name="connsiteY1227" fmla="*/ 21728 h 51323"/>
                <a:gd name="connsiteX1228" fmla="*/ 34164 w 51323"/>
                <a:gd name="connsiteY1228" fmla="*/ 21728 h 51323"/>
                <a:gd name="connsiteX1229" fmla="*/ 34164 w 51323"/>
                <a:gd name="connsiteY1229" fmla="*/ 21831 h 51323"/>
                <a:gd name="connsiteX1230" fmla="*/ 34662 w 51323"/>
                <a:gd name="connsiteY1230" fmla="*/ 22295 h 51323"/>
                <a:gd name="connsiteX1231" fmla="*/ 34336 w 51323"/>
                <a:gd name="connsiteY1231" fmla="*/ 22295 h 51323"/>
                <a:gd name="connsiteX1232" fmla="*/ 34456 w 51323"/>
                <a:gd name="connsiteY1232" fmla="*/ 22467 h 51323"/>
                <a:gd name="connsiteX1233" fmla="*/ 34456 w 51323"/>
                <a:gd name="connsiteY1233" fmla="*/ 22467 h 51323"/>
                <a:gd name="connsiteX1234" fmla="*/ 34456 w 51323"/>
                <a:gd name="connsiteY1234" fmla="*/ 22776 h 51323"/>
                <a:gd name="connsiteX1235" fmla="*/ 34250 w 51323"/>
                <a:gd name="connsiteY1235" fmla="*/ 22776 h 51323"/>
                <a:gd name="connsiteX1236" fmla="*/ 34078 w 51323"/>
                <a:gd name="connsiteY1236" fmla="*/ 22518 h 51323"/>
                <a:gd name="connsiteX1237" fmla="*/ 34078 w 51323"/>
                <a:gd name="connsiteY1237" fmla="*/ 22656 h 51323"/>
                <a:gd name="connsiteX1238" fmla="*/ 33975 w 51323"/>
                <a:gd name="connsiteY1238" fmla="*/ 22398 h 51323"/>
                <a:gd name="connsiteX1239" fmla="*/ 33855 w 51323"/>
                <a:gd name="connsiteY1239" fmla="*/ 22089 h 51323"/>
                <a:gd name="connsiteX1240" fmla="*/ 34353 w 51323"/>
                <a:gd name="connsiteY1240" fmla="*/ 22089 h 51323"/>
                <a:gd name="connsiteX1241" fmla="*/ 33958 w 51323"/>
                <a:gd name="connsiteY1241" fmla="*/ 22089 h 51323"/>
                <a:gd name="connsiteX1242" fmla="*/ 33786 w 51323"/>
                <a:gd name="connsiteY1242" fmla="*/ 22089 h 51323"/>
                <a:gd name="connsiteX1243" fmla="*/ 33065 w 51323"/>
                <a:gd name="connsiteY1243" fmla="*/ 21316 h 51323"/>
                <a:gd name="connsiteX1244" fmla="*/ 33065 w 51323"/>
                <a:gd name="connsiteY1244" fmla="*/ 20732 h 51323"/>
                <a:gd name="connsiteX1245" fmla="*/ 32584 w 51323"/>
                <a:gd name="connsiteY1245" fmla="*/ 20320 h 51323"/>
                <a:gd name="connsiteX1246" fmla="*/ 32275 w 51323"/>
                <a:gd name="connsiteY1246" fmla="*/ 20320 h 51323"/>
                <a:gd name="connsiteX1247" fmla="*/ 32395 w 51323"/>
                <a:gd name="connsiteY1247" fmla="*/ 20320 h 51323"/>
                <a:gd name="connsiteX1248" fmla="*/ 31931 w 51323"/>
                <a:gd name="connsiteY1248" fmla="*/ 20131 h 51323"/>
                <a:gd name="connsiteX1249" fmla="*/ 31742 w 51323"/>
                <a:gd name="connsiteY1249" fmla="*/ 19856 h 51323"/>
                <a:gd name="connsiteX1250" fmla="*/ 31175 w 51323"/>
                <a:gd name="connsiteY1250" fmla="*/ 19633 h 51323"/>
                <a:gd name="connsiteX1251" fmla="*/ 31175 w 51323"/>
                <a:gd name="connsiteY1251" fmla="*/ 19306 h 51323"/>
                <a:gd name="connsiteX1252" fmla="*/ 30746 w 51323"/>
                <a:gd name="connsiteY1252" fmla="*/ 19427 h 51323"/>
                <a:gd name="connsiteX1253" fmla="*/ 31656 w 51323"/>
                <a:gd name="connsiteY1253" fmla="*/ 20681 h 51323"/>
                <a:gd name="connsiteX1254" fmla="*/ 31983 w 51323"/>
                <a:gd name="connsiteY1254" fmla="*/ 20887 h 51323"/>
                <a:gd name="connsiteX1255" fmla="*/ 32807 w 51323"/>
                <a:gd name="connsiteY1255" fmla="*/ 21539 h 51323"/>
                <a:gd name="connsiteX1256" fmla="*/ 32532 w 51323"/>
                <a:gd name="connsiteY1256" fmla="*/ 21333 h 51323"/>
                <a:gd name="connsiteX1257" fmla="*/ 32309 w 51323"/>
                <a:gd name="connsiteY1257" fmla="*/ 21625 h 51323"/>
                <a:gd name="connsiteX1258" fmla="*/ 32309 w 51323"/>
                <a:gd name="connsiteY1258" fmla="*/ 22141 h 51323"/>
                <a:gd name="connsiteX1259" fmla="*/ 32086 w 51323"/>
                <a:gd name="connsiteY1259" fmla="*/ 22141 h 51323"/>
                <a:gd name="connsiteX1260" fmla="*/ 31794 w 51323"/>
                <a:gd name="connsiteY1260" fmla="*/ 21402 h 51323"/>
                <a:gd name="connsiteX1261" fmla="*/ 31656 w 51323"/>
                <a:gd name="connsiteY1261" fmla="*/ 21230 h 51323"/>
                <a:gd name="connsiteX1262" fmla="*/ 31330 w 51323"/>
                <a:gd name="connsiteY1262" fmla="*/ 21024 h 51323"/>
                <a:gd name="connsiteX1263" fmla="*/ 29080 w 51323"/>
                <a:gd name="connsiteY1263" fmla="*/ 20217 h 51323"/>
                <a:gd name="connsiteX1264" fmla="*/ 28633 w 51323"/>
                <a:gd name="connsiteY1264" fmla="*/ 20114 h 51323"/>
                <a:gd name="connsiteX1265" fmla="*/ 27448 w 51323"/>
                <a:gd name="connsiteY1265" fmla="*/ 21093 h 51323"/>
                <a:gd name="connsiteX1266" fmla="*/ 27448 w 51323"/>
                <a:gd name="connsiteY1266" fmla="*/ 21213 h 51323"/>
                <a:gd name="connsiteX1267" fmla="*/ 27191 w 51323"/>
                <a:gd name="connsiteY1267" fmla="*/ 22003 h 51323"/>
                <a:gd name="connsiteX1268" fmla="*/ 26847 w 51323"/>
                <a:gd name="connsiteY1268" fmla="*/ 22398 h 51323"/>
                <a:gd name="connsiteX1269" fmla="*/ 25421 w 51323"/>
                <a:gd name="connsiteY1269" fmla="*/ 22896 h 51323"/>
                <a:gd name="connsiteX1270" fmla="*/ 24700 w 51323"/>
                <a:gd name="connsiteY1270" fmla="*/ 22501 h 51323"/>
                <a:gd name="connsiteX1271" fmla="*/ 24408 w 51323"/>
                <a:gd name="connsiteY1271" fmla="*/ 22501 h 51323"/>
                <a:gd name="connsiteX1272" fmla="*/ 24511 w 51323"/>
                <a:gd name="connsiteY1272" fmla="*/ 21934 h 51323"/>
                <a:gd name="connsiteX1273" fmla="*/ 24511 w 51323"/>
                <a:gd name="connsiteY1273" fmla="*/ 21763 h 51323"/>
                <a:gd name="connsiteX1274" fmla="*/ 24631 w 51323"/>
                <a:gd name="connsiteY1274" fmla="*/ 21144 h 51323"/>
                <a:gd name="connsiteX1275" fmla="*/ 24734 w 51323"/>
                <a:gd name="connsiteY1275" fmla="*/ 20457 h 51323"/>
                <a:gd name="connsiteX1276" fmla="*/ 24734 w 51323"/>
                <a:gd name="connsiteY1276" fmla="*/ 20457 h 51323"/>
                <a:gd name="connsiteX1277" fmla="*/ 24734 w 51323"/>
                <a:gd name="connsiteY1277" fmla="*/ 20337 h 51323"/>
                <a:gd name="connsiteX1278" fmla="*/ 24734 w 51323"/>
                <a:gd name="connsiteY1278" fmla="*/ 20234 h 51323"/>
                <a:gd name="connsiteX1279" fmla="*/ 25026 w 51323"/>
                <a:gd name="connsiteY1279" fmla="*/ 20045 h 51323"/>
                <a:gd name="connsiteX1280" fmla="*/ 25490 w 51323"/>
                <a:gd name="connsiteY1280" fmla="*/ 20045 h 51323"/>
                <a:gd name="connsiteX1281" fmla="*/ 26607 w 51323"/>
                <a:gd name="connsiteY1281" fmla="*/ 20131 h 51323"/>
                <a:gd name="connsiteX1282" fmla="*/ 27276 w 51323"/>
                <a:gd name="connsiteY1282" fmla="*/ 19564 h 51323"/>
                <a:gd name="connsiteX1283" fmla="*/ 27053 w 51323"/>
                <a:gd name="connsiteY1283" fmla="*/ 19289 h 51323"/>
                <a:gd name="connsiteX1284" fmla="*/ 26813 w 51323"/>
                <a:gd name="connsiteY1284" fmla="*/ 18860 h 51323"/>
                <a:gd name="connsiteX1285" fmla="*/ 26950 w 51323"/>
                <a:gd name="connsiteY1285" fmla="*/ 18722 h 51323"/>
                <a:gd name="connsiteX1286" fmla="*/ 26727 w 51323"/>
                <a:gd name="connsiteY1286" fmla="*/ 18551 h 51323"/>
                <a:gd name="connsiteX1287" fmla="*/ 26229 w 51323"/>
                <a:gd name="connsiteY1287" fmla="*/ 18465 h 51323"/>
                <a:gd name="connsiteX1288" fmla="*/ 26229 w 51323"/>
                <a:gd name="connsiteY1288" fmla="*/ 18345 h 51323"/>
                <a:gd name="connsiteX1289" fmla="*/ 26229 w 51323"/>
                <a:gd name="connsiteY1289" fmla="*/ 18345 h 51323"/>
                <a:gd name="connsiteX1290" fmla="*/ 26229 w 51323"/>
                <a:gd name="connsiteY1290" fmla="*/ 18345 h 51323"/>
                <a:gd name="connsiteX1291" fmla="*/ 26555 w 51323"/>
                <a:gd name="connsiteY1291" fmla="*/ 18121 h 51323"/>
                <a:gd name="connsiteX1292" fmla="*/ 27019 w 51323"/>
                <a:gd name="connsiteY1292" fmla="*/ 18241 h 51323"/>
                <a:gd name="connsiteX1293" fmla="*/ 26899 w 51323"/>
                <a:gd name="connsiteY1293" fmla="*/ 17812 h 51323"/>
                <a:gd name="connsiteX1294" fmla="*/ 27105 w 51323"/>
                <a:gd name="connsiteY1294" fmla="*/ 17812 h 51323"/>
                <a:gd name="connsiteX1295" fmla="*/ 27500 w 51323"/>
                <a:gd name="connsiteY1295" fmla="*/ 17812 h 51323"/>
                <a:gd name="connsiteX1296" fmla="*/ 27775 w 51323"/>
                <a:gd name="connsiteY1296" fmla="*/ 17606 h 51323"/>
                <a:gd name="connsiteX1297" fmla="*/ 27895 w 51323"/>
                <a:gd name="connsiteY1297" fmla="*/ 17280 h 51323"/>
                <a:gd name="connsiteX1298" fmla="*/ 28444 w 51323"/>
                <a:gd name="connsiteY1298" fmla="*/ 17125 h 51323"/>
                <a:gd name="connsiteX1299" fmla="*/ 28444 w 51323"/>
                <a:gd name="connsiteY1299" fmla="*/ 17125 h 51323"/>
                <a:gd name="connsiteX1300" fmla="*/ 28547 w 51323"/>
                <a:gd name="connsiteY1300" fmla="*/ 17022 h 51323"/>
                <a:gd name="connsiteX1301" fmla="*/ 29286 w 51323"/>
                <a:gd name="connsiteY1301" fmla="*/ 16438 h 51323"/>
                <a:gd name="connsiteX1302" fmla="*/ 29458 w 51323"/>
                <a:gd name="connsiteY1302" fmla="*/ 16438 h 51323"/>
                <a:gd name="connsiteX1303" fmla="*/ 29595 w 51323"/>
                <a:gd name="connsiteY1303" fmla="*/ 16438 h 51323"/>
                <a:gd name="connsiteX1304" fmla="*/ 29956 w 51323"/>
                <a:gd name="connsiteY1304" fmla="*/ 16301 h 51323"/>
                <a:gd name="connsiteX1305" fmla="*/ 29389 w 51323"/>
                <a:gd name="connsiteY1305" fmla="*/ 15115 h 51323"/>
                <a:gd name="connsiteX1306" fmla="*/ 29664 w 51323"/>
                <a:gd name="connsiteY1306" fmla="*/ 15115 h 51323"/>
                <a:gd name="connsiteX1307" fmla="*/ 30025 w 51323"/>
                <a:gd name="connsiteY1307" fmla="*/ 15115 h 51323"/>
                <a:gd name="connsiteX1308" fmla="*/ 29922 w 51323"/>
                <a:gd name="connsiteY1308" fmla="*/ 16009 h 51323"/>
                <a:gd name="connsiteX1309" fmla="*/ 30059 w 51323"/>
                <a:gd name="connsiteY1309" fmla="*/ 16094 h 51323"/>
                <a:gd name="connsiteX1310" fmla="*/ 30883 w 51323"/>
                <a:gd name="connsiteY1310" fmla="*/ 16094 h 51323"/>
                <a:gd name="connsiteX1311" fmla="*/ 32103 w 51323"/>
                <a:gd name="connsiteY1311" fmla="*/ 15768 h 51323"/>
                <a:gd name="connsiteX1312" fmla="*/ 32326 w 51323"/>
                <a:gd name="connsiteY1312" fmla="*/ 15768 h 51323"/>
                <a:gd name="connsiteX1313" fmla="*/ 32189 w 51323"/>
                <a:gd name="connsiteY1313" fmla="*/ 15905 h 51323"/>
                <a:gd name="connsiteX1314" fmla="*/ 32704 w 51323"/>
                <a:gd name="connsiteY1314" fmla="*/ 14497 h 51323"/>
                <a:gd name="connsiteX1315" fmla="*/ 33031 w 51323"/>
                <a:gd name="connsiteY1315" fmla="*/ 14222 h 51323"/>
                <a:gd name="connsiteX1316" fmla="*/ 32842 w 51323"/>
                <a:gd name="connsiteY1316" fmla="*/ 14068 h 51323"/>
                <a:gd name="connsiteX1317" fmla="*/ 32842 w 51323"/>
                <a:gd name="connsiteY1317" fmla="*/ 13690 h 51323"/>
                <a:gd name="connsiteX1318" fmla="*/ 32979 w 51323"/>
                <a:gd name="connsiteY1318" fmla="*/ 13690 h 51323"/>
                <a:gd name="connsiteX1319" fmla="*/ 33615 w 51323"/>
                <a:gd name="connsiteY1319" fmla="*/ 13793 h 51323"/>
                <a:gd name="connsiteX1320" fmla="*/ 33752 w 51323"/>
                <a:gd name="connsiteY1320" fmla="*/ 13466 h 51323"/>
                <a:gd name="connsiteX1321" fmla="*/ 33546 w 51323"/>
                <a:gd name="connsiteY1321" fmla="*/ 13192 h 51323"/>
                <a:gd name="connsiteX1322" fmla="*/ 33408 w 51323"/>
                <a:gd name="connsiteY1322" fmla="*/ 13192 h 51323"/>
                <a:gd name="connsiteX1323" fmla="*/ 33031 w 51323"/>
                <a:gd name="connsiteY1323" fmla="*/ 13312 h 51323"/>
                <a:gd name="connsiteX1324" fmla="*/ 33031 w 51323"/>
                <a:gd name="connsiteY1324" fmla="*/ 13312 h 51323"/>
                <a:gd name="connsiteX1325" fmla="*/ 33031 w 51323"/>
                <a:gd name="connsiteY1325" fmla="*/ 13312 h 51323"/>
                <a:gd name="connsiteX1326" fmla="*/ 32567 w 51323"/>
                <a:gd name="connsiteY1326" fmla="*/ 13621 h 51323"/>
                <a:gd name="connsiteX1327" fmla="*/ 32172 w 51323"/>
                <a:gd name="connsiteY1327" fmla="*/ 13260 h 51323"/>
                <a:gd name="connsiteX1328" fmla="*/ 31914 w 51323"/>
                <a:gd name="connsiteY1328" fmla="*/ 12058 h 51323"/>
                <a:gd name="connsiteX1329" fmla="*/ 32017 w 51323"/>
                <a:gd name="connsiteY1329" fmla="*/ 12058 h 51323"/>
                <a:gd name="connsiteX1330" fmla="*/ 32017 w 51323"/>
                <a:gd name="connsiteY1330" fmla="*/ 11817 h 51323"/>
                <a:gd name="connsiteX1331" fmla="*/ 32309 w 51323"/>
                <a:gd name="connsiteY1331" fmla="*/ 11457 h 51323"/>
                <a:gd name="connsiteX1332" fmla="*/ 31502 w 51323"/>
                <a:gd name="connsiteY1332" fmla="*/ 11182 h 51323"/>
                <a:gd name="connsiteX1333" fmla="*/ 31656 w 51323"/>
                <a:gd name="connsiteY1333" fmla="*/ 11714 h 51323"/>
                <a:gd name="connsiteX1334" fmla="*/ 31038 w 51323"/>
                <a:gd name="connsiteY1334" fmla="*/ 12590 h 51323"/>
                <a:gd name="connsiteX1335" fmla="*/ 31175 w 51323"/>
                <a:gd name="connsiteY1335" fmla="*/ 12968 h 51323"/>
                <a:gd name="connsiteX1336" fmla="*/ 31382 w 51323"/>
                <a:gd name="connsiteY1336" fmla="*/ 13793 h 51323"/>
                <a:gd name="connsiteX1337" fmla="*/ 31210 w 51323"/>
                <a:gd name="connsiteY1337" fmla="*/ 13913 h 51323"/>
                <a:gd name="connsiteX1338" fmla="*/ 31485 w 51323"/>
                <a:gd name="connsiteY1338" fmla="*/ 14050 h 51323"/>
                <a:gd name="connsiteX1339" fmla="*/ 31364 w 51323"/>
                <a:gd name="connsiteY1339" fmla="*/ 14188 h 51323"/>
                <a:gd name="connsiteX1340" fmla="*/ 31364 w 51323"/>
                <a:gd name="connsiteY1340" fmla="*/ 14342 h 51323"/>
                <a:gd name="connsiteX1341" fmla="*/ 31364 w 51323"/>
                <a:gd name="connsiteY1341" fmla="*/ 14514 h 51323"/>
                <a:gd name="connsiteX1342" fmla="*/ 31090 w 51323"/>
                <a:gd name="connsiteY1342" fmla="*/ 15236 h 51323"/>
                <a:gd name="connsiteX1343" fmla="*/ 30162 w 51323"/>
                <a:gd name="connsiteY1343" fmla="*/ 14050 h 51323"/>
                <a:gd name="connsiteX1344" fmla="*/ 29939 w 51323"/>
                <a:gd name="connsiteY1344" fmla="*/ 13810 h 51323"/>
                <a:gd name="connsiteX1345" fmla="*/ 29939 w 51323"/>
                <a:gd name="connsiteY1345" fmla="*/ 14102 h 51323"/>
                <a:gd name="connsiteX1346" fmla="*/ 29733 w 51323"/>
                <a:gd name="connsiteY1346" fmla="*/ 13965 h 51323"/>
                <a:gd name="connsiteX1347" fmla="*/ 29595 w 51323"/>
                <a:gd name="connsiteY1347" fmla="*/ 14291 h 51323"/>
                <a:gd name="connsiteX1348" fmla="*/ 29183 w 51323"/>
                <a:gd name="connsiteY1348" fmla="*/ 14428 h 51323"/>
                <a:gd name="connsiteX1349" fmla="*/ 29183 w 51323"/>
                <a:gd name="connsiteY1349" fmla="*/ 14102 h 51323"/>
                <a:gd name="connsiteX1350" fmla="*/ 29011 w 51323"/>
                <a:gd name="connsiteY1350" fmla="*/ 13879 h 51323"/>
                <a:gd name="connsiteX1351" fmla="*/ 29011 w 51323"/>
                <a:gd name="connsiteY1351" fmla="*/ 13879 h 51323"/>
                <a:gd name="connsiteX1352" fmla="*/ 29166 w 51323"/>
                <a:gd name="connsiteY1352" fmla="*/ 13776 h 51323"/>
                <a:gd name="connsiteX1353" fmla="*/ 29166 w 51323"/>
                <a:gd name="connsiteY1353" fmla="*/ 13655 h 51323"/>
                <a:gd name="connsiteX1354" fmla="*/ 29164 w 51323"/>
                <a:gd name="connsiteY1354" fmla="*/ 13485 h 51323"/>
                <a:gd name="connsiteX1355" fmla="*/ 29166 w 51323"/>
                <a:gd name="connsiteY1355" fmla="*/ 13484 h 51323"/>
                <a:gd name="connsiteX1356" fmla="*/ 28943 w 51323"/>
                <a:gd name="connsiteY1356" fmla="*/ 13484 h 51323"/>
                <a:gd name="connsiteX1357" fmla="*/ 28943 w 51323"/>
                <a:gd name="connsiteY1357" fmla="*/ 13381 h 51323"/>
                <a:gd name="connsiteX1358" fmla="*/ 29355 w 51323"/>
                <a:gd name="connsiteY1358" fmla="*/ 13157 h 51323"/>
                <a:gd name="connsiteX1359" fmla="*/ 28994 w 51323"/>
                <a:gd name="connsiteY1359" fmla="*/ 13157 h 51323"/>
                <a:gd name="connsiteX1360" fmla="*/ 29183 w 51323"/>
                <a:gd name="connsiteY1360" fmla="*/ 13020 h 51323"/>
                <a:gd name="connsiteX1361" fmla="*/ 29046 w 51323"/>
                <a:gd name="connsiteY1361" fmla="*/ 12917 h 51323"/>
                <a:gd name="connsiteX1362" fmla="*/ 29183 w 51323"/>
                <a:gd name="connsiteY1362" fmla="*/ 12917 h 51323"/>
                <a:gd name="connsiteX1363" fmla="*/ 29183 w 51323"/>
                <a:gd name="connsiteY1363" fmla="*/ 12797 h 51323"/>
                <a:gd name="connsiteX1364" fmla="*/ 29441 w 51323"/>
                <a:gd name="connsiteY1364" fmla="*/ 12797 h 51323"/>
                <a:gd name="connsiteX1365" fmla="*/ 29578 w 51323"/>
                <a:gd name="connsiteY1365" fmla="*/ 12797 h 51323"/>
                <a:gd name="connsiteX1366" fmla="*/ 29578 w 51323"/>
                <a:gd name="connsiteY1366" fmla="*/ 12676 h 51323"/>
                <a:gd name="connsiteX1367" fmla="*/ 29767 w 51323"/>
                <a:gd name="connsiteY1367" fmla="*/ 12676 h 51323"/>
                <a:gd name="connsiteX1368" fmla="*/ 30059 w 51323"/>
                <a:gd name="connsiteY1368" fmla="*/ 12298 h 51323"/>
                <a:gd name="connsiteX1369" fmla="*/ 29801 w 51323"/>
                <a:gd name="connsiteY1369" fmla="*/ 12419 h 51323"/>
                <a:gd name="connsiteX1370" fmla="*/ 29801 w 51323"/>
                <a:gd name="connsiteY1370" fmla="*/ 12195 h 51323"/>
                <a:gd name="connsiteX1371" fmla="*/ 30145 w 51323"/>
                <a:gd name="connsiteY1371" fmla="*/ 11766 h 51323"/>
                <a:gd name="connsiteX1372" fmla="*/ 30145 w 51323"/>
                <a:gd name="connsiteY1372" fmla="*/ 11611 h 51323"/>
                <a:gd name="connsiteX1373" fmla="*/ 30145 w 51323"/>
                <a:gd name="connsiteY1373" fmla="*/ 11525 h 51323"/>
                <a:gd name="connsiteX1374" fmla="*/ 30145 w 51323"/>
                <a:gd name="connsiteY1374" fmla="*/ 11337 h 51323"/>
                <a:gd name="connsiteX1375" fmla="*/ 30025 w 51323"/>
                <a:gd name="connsiteY1375" fmla="*/ 11148 h 51323"/>
                <a:gd name="connsiteX1376" fmla="*/ 30334 w 51323"/>
                <a:gd name="connsiteY1376" fmla="*/ 10976 h 51323"/>
                <a:gd name="connsiteX1377" fmla="*/ 30334 w 51323"/>
                <a:gd name="connsiteY1377" fmla="*/ 10838 h 51323"/>
                <a:gd name="connsiteX1378" fmla="*/ 30334 w 51323"/>
                <a:gd name="connsiteY1378" fmla="*/ 10684 h 51323"/>
                <a:gd name="connsiteX1379" fmla="*/ 30334 w 51323"/>
                <a:gd name="connsiteY1379" fmla="*/ 10478 h 51323"/>
                <a:gd name="connsiteX1380" fmla="*/ 30506 w 51323"/>
                <a:gd name="connsiteY1380" fmla="*/ 10478 h 51323"/>
                <a:gd name="connsiteX1381" fmla="*/ 30506 w 51323"/>
                <a:gd name="connsiteY1381" fmla="*/ 10323 h 51323"/>
                <a:gd name="connsiteX1382" fmla="*/ 30506 w 51323"/>
                <a:gd name="connsiteY1382" fmla="*/ 10220 h 51323"/>
                <a:gd name="connsiteX1383" fmla="*/ 30609 w 51323"/>
                <a:gd name="connsiteY1383" fmla="*/ 10117 h 51323"/>
                <a:gd name="connsiteX1384" fmla="*/ 30609 w 51323"/>
                <a:gd name="connsiteY1384" fmla="*/ 10117 h 51323"/>
                <a:gd name="connsiteX1385" fmla="*/ 30609 w 51323"/>
                <a:gd name="connsiteY1385" fmla="*/ 10117 h 51323"/>
                <a:gd name="connsiteX1386" fmla="*/ 30609 w 51323"/>
                <a:gd name="connsiteY1386" fmla="*/ 10117 h 51323"/>
                <a:gd name="connsiteX1387" fmla="*/ 30798 w 51323"/>
                <a:gd name="connsiteY1387" fmla="*/ 10117 h 51323"/>
                <a:gd name="connsiteX1388" fmla="*/ 30798 w 51323"/>
                <a:gd name="connsiteY1388" fmla="*/ 9739 h 51323"/>
                <a:gd name="connsiteX1389" fmla="*/ 31124 w 51323"/>
                <a:gd name="connsiteY1389" fmla="*/ 9894 h 51323"/>
                <a:gd name="connsiteX1390" fmla="*/ 31124 w 51323"/>
                <a:gd name="connsiteY1390" fmla="*/ 9619 h 51323"/>
                <a:gd name="connsiteX1391" fmla="*/ 31124 w 51323"/>
                <a:gd name="connsiteY1391" fmla="*/ 9619 h 51323"/>
                <a:gd name="connsiteX1392" fmla="*/ 31124 w 51323"/>
                <a:gd name="connsiteY1392" fmla="*/ 9619 h 51323"/>
                <a:gd name="connsiteX1393" fmla="*/ 31261 w 51323"/>
                <a:gd name="connsiteY1393" fmla="*/ 9619 h 51323"/>
                <a:gd name="connsiteX1394" fmla="*/ 31450 w 51323"/>
                <a:gd name="connsiteY1394" fmla="*/ 9499 h 51323"/>
                <a:gd name="connsiteX1395" fmla="*/ 31553 w 51323"/>
                <a:gd name="connsiteY1395" fmla="*/ 9842 h 51323"/>
                <a:gd name="connsiteX1396" fmla="*/ 31674 w 51323"/>
                <a:gd name="connsiteY1396" fmla="*/ 9842 h 51323"/>
                <a:gd name="connsiteX1397" fmla="*/ 31845 w 51323"/>
                <a:gd name="connsiteY1397" fmla="*/ 9842 h 51323"/>
                <a:gd name="connsiteX1398" fmla="*/ 31742 w 51323"/>
                <a:gd name="connsiteY1398" fmla="*/ 10031 h 51323"/>
                <a:gd name="connsiteX1399" fmla="*/ 32000 w 51323"/>
                <a:gd name="connsiteY1399" fmla="*/ 10220 h 51323"/>
                <a:gd name="connsiteX1400" fmla="*/ 32275 w 51323"/>
                <a:gd name="connsiteY1400" fmla="*/ 10220 h 51323"/>
                <a:gd name="connsiteX1401" fmla="*/ 32275 w 51323"/>
                <a:gd name="connsiteY1401" fmla="*/ 10048 h 51323"/>
                <a:gd name="connsiteX1402" fmla="*/ 32378 w 51323"/>
                <a:gd name="connsiteY1402" fmla="*/ 10048 h 51323"/>
                <a:gd name="connsiteX1403" fmla="*/ 32584 w 51323"/>
                <a:gd name="connsiteY1403" fmla="*/ 10220 h 51323"/>
                <a:gd name="connsiteX1404" fmla="*/ 33683 w 51323"/>
                <a:gd name="connsiteY1404" fmla="*/ 10529 h 51323"/>
                <a:gd name="connsiteX1405" fmla="*/ 33804 w 51323"/>
                <a:gd name="connsiteY1405" fmla="*/ 10529 h 51323"/>
                <a:gd name="connsiteX1406" fmla="*/ 33597 w 51323"/>
                <a:gd name="connsiteY1406" fmla="*/ 11354 h 51323"/>
                <a:gd name="connsiteX1407" fmla="*/ 33426 w 51323"/>
                <a:gd name="connsiteY1407" fmla="*/ 11354 h 51323"/>
                <a:gd name="connsiteX1408" fmla="*/ 33065 w 51323"/>
                <a:gd name="connsiteY1408" fmla="*/ 11354 h 51323"/>
                <a:gd name="connsiteX1409" fmla="*/ 33357 w 51323"/>
                <a:gd name="connsiteY1409" fmla="*/ 11663 h 51323"/>
                <a:gd name="connsiteX1410" fmla="*/ 34576 w 51323"/>
                <a:gd name="connsiteY1410" fmla="*/ 12333 h 51323"/>
                <a:gd name="connsiteX1411" fmla="*/ 34250 w 51323"/>
                <a:gd name="connsiteY1411" fmla="*/ 12006 h 51323"/>
                <a:gd name="connsiteX1412" fmla="*/ 34972 w 51323"/>
                <a:gd name="connsiteY1412" fmla="*/ 11474 h 51323"/>
                <a:gd name="connsiteX1413" fmla="*/ 35143 w 51323"/>
                <a:gd name="connsiteY1413" fmla="*/ 11474 h 51323"/>
                <a:gd name="connsiteX1414" fmla="*/ 34181 w 51323"/>
                <a:gd name="connsiteY1414" fmla="*/ 10340 h 51323"/>
                <a:gd name="connsiteX1415" fmla="*/ 34800 w 51323"/>
                <a:gd name="connsiteY1415" fmla="*/ 10753 h 51323"/>
                <a:gd name="connsiteX1416" fmla="*/ 35143 w 51323"/>
                <a:gd name="connsiteY1416" fmla="*/ 10529 h 51323"/>
                <a:gd name="connsiteX1417" fmla="*/ 35401 w 51323"/>
                <a:gd name="connsiteY1417" fmla="*/ 10289 h 51323"/>
                <a:gd name="connsiteX1418" fmla="*/ 35401 w 51323"/>
                <a:gd name="connsiteY1418" fmla="*/ 10151 h 51323"/>
                <a:gd name="connsiteX1419" fmla="*/ 35727 w 51323"/>
                <a:gd name="connsiteY1419" fmla="*/ 10306 h 51323"/>
                <a:gd name="connsiteX1420" fmla="*/ 35727 w 51323"/>
                <a:gd name="connsiteY1420" fmla="*/ 10306 h 51323"/>
                <a:gd name="connsiteX1421" fmla="*/ 35830 w 51323"/>
                <a:gd name="connsiteY1421" fmla="*/ 9842 h 51323"/>
                <a:gd name="connsiteX1422" fmla="*/ 36019 w 51323"/>
                <a:gd name="connsiteY1422" fmla="*/ 9945 h 51323"/>
                <a:gd name="connsiteX1423" fmla="*/ 36122 w 51323"/>
                <a:gd name="connsiteY1423" fmla="*/ 9945 h 51323"/>
                <a:gd name="connsiteX1424" fmla="*/ 35848 w 51323"/>
                <a:gd name="connsiteY1424" fmla="*/ 9773 h 51323"/>
                <a:gd name="connsiteX1425" fmla="*/ 35848 w 51323"/>
                <a:gd name="connsiteY1425" fmla="*/ 9773 h 51323"/>
                <a:gd name="connsiteX1426" fmla="*/ 36981 w 51323"/>
                <a:gd name="connsiteY1426" fmla="*/ 9894 h 51323"/>
                <a:gd name="connsiteX1427" fmla="*/ 36260 w 51323"/>
                <a:gd name="connsiteY1427" fmla="*/ 9361 h 51323"/>
                <a:gd name="connsiteX1428" fmla="*/ 36260 w 51323"/>
                <a:gd name="connsiteY1428" fmla="*/ 9361 h 51323"/>
                <a:gd name="connsiteX1429" fmla="*/ 36140 w 51323"/>
                <a:gd name="connsiteY1429" fmla="*/ 9361 h 51323"/>
                <a:gd name="connsiteX1430" fmla="*/ 36140 w 51323"/>
                <a:gd name="connsiteY1430" fmla="*/ 9361 h 51323"/>
                <a:gd name="connsiteX1431" fmla="*/ 35882 w 51323"/>
                <a:gd name="connsiteY1431" fmla="*/ 9155 h 51323"/>
                <a:gd name="connsiteX1432" fmla="*/ 35727 w 51323"/>
                <a:gd name="connsiteY1432" fmla="*/ 8983 h 51323"/>
                <a:gd name="connsiteX1433" fmla="*/ 34594 w 51323"/>
                <a:gd name="connsiteY1433" fmla="*/ 7884 h 51323"/>
                <a:gd name="connsiteX1434" fmla="*/ 37136 w 51323"/>
                <a:gd name="connsiteY1434" fmla="*/ 9602 h 51323"/>
                <a:gd name="connsiteX1435" fmla="*/ 37136 w 51323"/>
                <a:gd name="connsiteY1435" fmla="*/ 9602 h 51323"/>
                <a:gd name="connsiteX1436" fmla="*/ 37806 w 51323"/>
                <a:gd name="connsiteY1436" fmla="*/ 10289 h 51323"/>
                <a:gd name="connsiteX1437" fmla="*/ 37806 w 51323"/>
                <a:gd name="connsiteY1437" fmla="*/ 10289 h 51323"/>
                <a:gd name="connsiteX1438" fmla="*/ 37806 w 51323"/>
                <a:gd name="connsiteY1438" fmla="*/ 10289 h 51323"/>
                <a:gd name="connsiteX1439" fmla="*/ 37703 w 51323"/>
                <a:gd name="connsiteY1439" fmla="*/ 10426 h 51323"/>
                <a:gd name="connsiteX1440" fmla="*/ 37101 w 51323"/>
                <a:gd name="connsiteY1440" fmla="*/ 9275 h 51323"/>
                <a:gd name="connsiteX1441" fmla="*/ 37101 w 51323"/>
                <a:gd name="connsiteY1441" fmla="*/ 9275 h 51323"/>
                <a:gd name="connsiteX1442" fmla="*/ 34851 w 51323"/>
                <a:gd name="connsiteY1442" fmla="*/ 7850 h 51323"/>
                <a:gd name="connsiteX1443" fmla="*/ 35933 w 51323"/>
                <a:gd name="connsiteY1443" fmla="*/ 8451 h 51323"/>
                <a:gd name="connsiteX1444" fmla="*/ 36105 w 51323"/>
                <a:gd name="connsiteY1444" fmla="*/ 8451 h 51323"/>
                <a:gd name="connsiteX1445" fmla="*/ 35367 w 51323"/>
                <a:gd name="connsiteY1445" fmla="*/ 8125 h 51323"/>
                <a:gd name="connsiteX1446" fmla="*/ 35367 w 51323"/>
                <a:gd name="connsiteY1446" fmla="*/ 8039 h 51323"/>
                <a:gd name="connsiteX1447" fmla="*/ 35367 w 51323"/>
                <a:gd name="connsiteY1447" fmla="*/ 8039 h 51323"/>
                <a:gd name="connsiteX1448" fmla="*/ 36363 w 51323"/>
                <a:gd name="connsiteY1448" fmla="*/ 8331 h 51323"/>
                <a:gd name="connsiteX1449" fmla="*/ 37256 w 51323"/>
                <a:gd name="connsiteY1449" fmla="*/ 8812 h 51323"/>
                <a:gd name="connsiteX1450" fmla="*/ 37428 w 51323"/>
                <a:gd name="connsiteY1450" fmla="*/ 8812 h 51323"/>
                <a:gd name="connsiteX1451" fmla="*/ 37101 w 51323"/>
                <a:gd name="connsiteY1451" fmla="*/ 8709 h 51323"/>
                <a:gd name="connsiteX1452" fmla="*/ 35384 w 51323"/>
                <a:gd name="connsiteY1452" fmla="*/ 7798 h 51323"/>
                <a:gd name="connsiteX1453" fmla="*/ 34525 w 51323"/>
                <a:gd name="connsiteY1453" fmla="*/ 7231 h 51323"/>
                <a:gd name="connsiteX1454" fmla="*/ 34851 w 51323"/>
                <a:gd name="connsiteY1454" fmla="*/ 7317 h 51323"/>
                <a:gd name="connsiteX1455" fmla="*/ 34267 w 51323"/>
                <a:gd name="connsiteY1455" fmla="*/ 7008 h 51323"/>
                <a:gd name="connsiteX1456" fmla="*/ 34027 w 51323"/>
                <a:gd name="connsiteY1456" fmla="*/ 6922 h 51323"/>
                <a:gd name="connsiteX1457" fmla="*/ 34027 w 51323"/>
                <a:gd name="connsiteY1457" fmla="*/ 6922 h 51323"/>
                <a:gd name="connsiteX1458" fmla="*/ 33872 w 51323"/>
                <a:gd name="connsiteY1458" fmla="*/ 6922 h 51323"/>
                <a:gd name="connsiteX1459" fmla="*/ 33872 w 51323"/>
                <a:gd name="connsiteY1459" fmla="*/ 6922 h 51323"/>
                <a:gd name="connsiteX1460" fmla="*/ 33615 w 51323"/>
                <a:gd name="connsiteY1460" fmla="*/ 6768 h 51323"/>
                <a:gd name="connsiteX1461" fmla="*/ 33615 w 51323"/>
                <a:gd name="connsiteY1461" fmla="*/ 6768 h 51323"/>
                <a:gd name="connsiteX1462" fmla="*/ 33168 w 51323"/>
                <a:gd name="connsiteY1462" fmla="*/ 6458 h 51323"/>
                <a:gd name="connsiteX1463" fmla="*/ 33168 w 51323"/>
                <a:gd name="connsiteY1463" fmla="*/ 6458 h 51323"/>
                <a:gd name="connsiteX1464" fmla="*/ 32910 w 51323"/>
                <a:gd name="connsiteY1464" fmla="*/ 6287 h 51323"/>
                <a:gd name="connsiteX1465" fmla="*/ 32910 w 51323"/>
                <a:gd name="connsiteY1465" fmla="*/ 6287 h 51323"/>
                <a:gd name="connsiteX1466" fmla="*/ 32910 w 51323"/>
                <a:gd name="connsiteY1466" fmla="*/ 6287 h 51323"/>
                <a:gd name="connsiteX1467" fmla="*/ 32910 w 51323"/>
                <a:gd name="connsiteY1467" fmla="*/ 6287 h 51323"/>
                <a:gd name="connsiteX1468" fmla="*/ 32687 w 51323"/>
                <a:gd name="connsiteY1468" fmla="*/ 6184 h 51323"/>
                <a:gd name="connsiteX1469" fmla="*/ 32687 w 51323"/>
                <a:gd name="connsiteY1469" fmla="*/ 6184 h 51323"/>
                <a:gd name="connsiteX1470" fmla="*/ 32687 w 51323"/>
                <a:gd name="connsiteY1470" fmla="*/ 6184 h 51323"/>
                <a:gd name="connsiteX1471" fmla="*/ 32687 w 51323"/>
                <a:gd name="connsiteY1471" fmla="*/ 6184 h 51323"/>
                <a:gd name="connsiteX1472" fmla="*/ 32687 w 51323"/>
                <a:gd name="connsiteY1472" fmla="*/ 6184 h 51323"/>
                <a:gd name="connsiteX1473" fmla="*/ 32962 w 51323"/>
                <a:gd name="connsiteY1473" fmla="*/ 6287 h 51323"/>
                <a:gd name="connsiteX1474" fmla="*/ 32739 w 51323"/>
                <a:gd name="connsiteY1474" fmla="*/ 6184 h 51323"/>
                <a:gd name="connsiteX1475" fmla="*/ 32893 w 51323"/>
                <a:gd name="connsiteY1475" fmla="*/ 6184 h 51323"/>
                <a:gd name="connsiteX1476" fmla="*/ 32807 w 51323"/>
                <a:gd name="connsiteY1476" fmla="*/ 6184 h 51323"/>
                <a:gd name="connsiteX1477" fmla="*/ 32670 w 51323"/>
                <a:gd name="connsiteY1477" fmla="*/ 6184 h 51323"/>
                <a:gd name="connsiteX1478" fmla="*/ 32670 w 51323"/>
                <a:gd name="connsiteY1478" fmla="*/ 6184 h 51323"/>
                <a:gd name="connsiteX1479" fmla="*/ 32532 w 51323"/>
                <a:gd name="connsiteY1479" fmla="*/ 6184 h 51323"/>
                <a:gd name="connsiteX1480" fmla="*/ 32876 w 51323"/>
                <a:gd name="connsiteY1480" fmla="*/ 6304 h 51323"/>
                <a:gd name="connsiteX1481" fmla="*/ 32481 w 51323"/>
                <a:gd name="connsiteY1481" fmla="*/ 6166 h 51323"/>
                <a:gd name="connsiteX1482" fmla="*/ 32481 w 51323"/>
                <a:gd name="connsiteY1482" fmla="*/ 6166 h 51323"/>
                <a:gd name="connsiteX1483" fmla="*/ 32343 w 51323"/>
                <a:gd name="connsiteY1483" fmla="*/ 6166 h 51323"/>
                <a:gd name="connsiteX1484" fmla="*/ 32343 w 51323"/>
                <a:gd name="connsiteY1484" fmla="*/ 6166 h 51323"/>
                <a:gd name="connsiteX1485" fmla="*/ 32343 w 51323"/>
                <a:gd name="connsiteY1485" fmla="*/ 6166 h 51323"/>
                <a:gd name="connsiteX1486" fmla="*/ 32206 w 51323"/>
                <a:gd name="connsiteY1486" fmla="*/ 6166 h 51323"/>
                <a:gd name="connsiteX1487" fmla="*/ 32206 w 51323"/>
                <a:gd name="connsiteY1487" fmla="*/ 6166 h 51323"/>
                <a:gd name="connsiteX1488" fmla="*/ 31742 w 51323"/>
                <a:gd name="connsiteY1488" fmla="*/ 6029 h 51323"/>
                <a:gd name="connsiteX1489" fmla="*/ 31742 w 51323"/>
                <a:gd name="connsiteY1489" fmla="*/ 6029 h 51323"/>
                <a:gd name="connsiteX1490" fmla="*/ 30952 w 51323"/>
                <a:gd name="connsiteY1490" fmla="*/ 5754 h 51323"/>
                <a:gd name="connsiteX1491" fmla="*/ 30952 w 51323"/>
                <a:gd name="connsiteY1491" fmla="*/ 5754 h 51323"/>
                <a:gd name="connsiteX1492" fmla="*/ 31055 w 51323"/>
                <a:gd name="connsiteY1492" fmla="*/ 5754 h 51323"/>
                <a:gd name="connsiteX1493" fmla="*/ 31055 w 51323"/>
                <a:gd name="connsiteY1493" fmla="*/ 5754 h 51323"/>
                <a:gd name="connsiteX1494" fmla="*/ 31605 w 51323"/>
                <a:gd name="connsiteY1494" fmla="*/ 5909 h 51323"/>
                <a:gd name="connsiteX1495" fmla="*/ 31416 w 51323"/>
                <a:gd name="connsiteY1495" fmla="*/ 5909 h 51323"/>
                <a:gd name="connsiteX1496" fmla="*/ 31588 w 51323"/>
                <a:gd name="connsiteY1496" fmla="*/ 5909 h 51323"/>
                <a:gd name="connsiteX1497" fmla="*/ 31485 w 51323"/>
                <a:gd name="connsiteY1497" fmla="*/ 5909 h 51323"/>
                <a:gd name="connsiteX1498" fmla="*/ 31485 w 51323"/>
                <a:gd name="connsiteY1498" fmla="*/ 5909 h 51323"/>
                <a:gd name="connsiteX1499" fmla="*/ 31485 w 51323"/>
                <a:gd name="connsiteY1499" fmla="*/ 5909 h 51323"/>
                <a:gd name="connsiteX1500" fmla="*/ 31811 w 51323"/>
                <a:gd name="connsiteY1500" fmla="*/ 5909 h 51323"/>
                <a:gd name="connsiteX1501" fmla="*/ 31811 w 51323"/>
                <a:gd name="connsiteY1501" fmla="*/ 5909 h 51323"/>
                <a:gd name="connsiteX1502" fmla="*/ 31708 w 51323"/>
                <a:gd name="connsiteY1502" fmla="*/ 5909 h 51323"/>
                <a:gd name="connsiteX1503" fmla="*/ 31708 w 51323"/>
                <a:gd name="connsiteY1503" fmla="*/ 5909 h 51323"/>
                <a:gd name="connsiteX1504" fmla="*/ 31708 w 51323"/>
                <a:gd name="connsiteY1504" fmla="*/ 5909 h 51323"/>
                <a:gd name="connsiteX1505" fmla="*/ 31708 w 51323"/>
                <a:gd name="connsiteY1505" fmla="*/ 5909 h 51323"/>
                <a:gd name="connsiteX1506" fmla="*/ 31708 w 51323"/>
                <a:gd name="connsiteY1506" fmla="*/ 5909 h 51323"/>
                <a:gd name="connsiteX1507" fmla="*/ 32292 w 51323"/>
                <a:gd name="connsiteY1507" fmla="*/ 6046 h 51323"/>
                <a:gd name="connsiteX1508" fmla="*/ 32051 w 51323"/>
                <a:gd name="connsiteY1508" fmla="*/ 6046 h 51323"/>
                <a:gd name="connsiteX1509" fmla="*/ 32378 w 51323"/>
                <a:gd name="connsiteY1509" fmla="*/ 6046 h 51323"/>
                <a:gd name="connsiteX1510" fmla="*/ 32635 w 51323"/>
                <a:gd name="connsiteY1510" fmla="*/ 6046 h 51323"/>
                <a:gd name="connsiteX1511" fmla="*/ 32635 w 51323"/>
                <a:gd name="connsiteY1511" fmla="*/ 6046 h 51323"/>
                <a:gd name="connsiteX1512" fmla="*/ 32773 w 51323"/>
                <a:gd name="connsiteY1512" fmla="*/ 6046 h 51323"/>
                <a:gd name="connsiteX1513" fmla="*/ 32773 w 51323"/>
                <a:gd name="connsiteY1513" fmla="*/ 6046 h 51323"/>
                <a:gd name="connsiteX1514" fmla="*/ 32773 w 51323"/>
                <a:gd name="connsiteY1514" fmla="*/ 6046 h 51323"/>
                <a:gd name="connsiteX1515" fmla="*/ 34010 w 51323"/>
                <a:gd name="connsiteY1515" fmla="*/ 6493 h 51323"/>
                <a:gd name="connsiteX1516" fmla="*/ 34010 w 51323"/>
                <a:gd name="connsiteY1516" fmla="*/ 6493 h 51323"/>
                <a:gd name="connsiteX1517" fmla="*/ 34645 w 51323"/>
                <a:gd name="connsiteY1517" fmla="*/ 6768 h 51323"/>
                <a:gd name="connsiteX1518" fmla="*/ 34645 w 51323"/>
                <a:gd name="connsiteY1518" fmla="*/ 6768 h 51323"/>
                <a:gd name="connsiteX1519" fmla="*/ 35470 w 51323"/>
                <a:gd name="connsiteY1519" fmla="*/ 7163 h 51323"/>
                <a:gd name="connsiteX1520" fmla="*/ 34662 w 51323"/>
                <a:gd name="connsiteY1520" fmla="*/ 6733 h 51323"/>
                <a:gd name="connsiteX1521" fmla="*/ 34662 w 51323"/>
                <a:gd name="connsiteY1521" fmla="*/ 6733 h 51323"/>
                <a:gd name="connsiteX1522" fmla="*/ 34353 w 51323"/>
                <a:gd name="connsiteY1522" fmla="*/ 6596 h 51323"/>
                <a:gd name="connsiteX1523" fmla="*/ 34491 w 51323"/>
                <a:gd name="connsiteY1523" fmla="*/ 6596 h 51323"/>
                <a:gd name="connsiteX1524" fmla="*/ 34250 w 51323"/>
                <a:gd name="connsiteY1524" fmla="*/ 6493 h 51323"/>
                <a:gd name="connsiteX1525" fmla="*/ 34113 w 51323"/>
                <a:gd name="connsiteY1525" fmla="*/ 6493 h 51323"/>
                <a:gd name="connsiteX1526" fmla="*/ 34422 w 51323"/>
                <a:gd name="connsiteY1526" fmla="*/ 6596 h 51323"/>
                <a:gd name="connsiteX1527" fmla="*/ 34113 w 51323"/>
                <a:gd name="connsiteY1527" fmla="*/ 6476 h 51323"/>
                <a:gd name="connsiteX1528" fmla="*/ 34628 w 51323"/>
                <a:gd name="connsiteY1528" fmla="*/ 6630 h 51323"/>
                <a:gd name="connsiteX1529" fmla="*/ 34473 w 51323"/>
                <a:gd name="connsiteY1529" fmla="*/ 6630 h 51323"/>
                <a:gd name="connsiteX1530" fmla="*/ 34473 w 51323"/>
                <a:gd name="connsiteY1530" fmla="*/ 6630 h 51323"/>
                <a:gd name="connsiteX1531" fmla="*/ 33700 w 51323"/>
                <a:gd name="connsiteY1531" fmla="*/ 4827 h 51323"/>
                <a:gd name="connsiteX1532" fmla="*/ 49314 w 51323"/>
                <a:gd name="connsiteY1532" fmla="*/ 25438 h 51323"/>
                <a:gd name="connsiteX1533" fmla="*/ 49177 w 51323"/>
                <a:gd name="connsiteY1533" fmla="*/ 26452 h 51323"/>
                <a:gd name="connsiteX1534" fmla="*/ 49159 w 51323"/>
                <a:gd name="connsiteY1534" fmla="*/ 26589 h 5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</a:cxnLst>
              <a:rect l="l" t="t" r="r" b="b"/>
              <a:pathLst>
                <a:path w="51323" h="51323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2CBAA18-CC04-464C-B2DA-F60F1DFE63B3}"/>
                </a:ext>
              </a:extLst>
            </p:cNvPr>
            <p:cNvSpPr/>
            <p:nvPr/>
          </p:nvSpPr>
          <p:spPr>
            <a:xfrm rot="16200000">
              <a:off x="12026199" y="6563439"/>
              <a:ext cx="13277" cy="68070"/>
            </a:xfrm>
            <a:custGeom>
              <a:avLst/>
              <a:gdLst>
                <a:gd name="connsiteX0" fmla="*/ 13277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7 w 13277"/>
                <a:gd name="connsiteY3" fmla="*/ 0 h 68070"/>
                <a:gd name="connsiteX4" fmla="*/ 0 w 13277"/>
                <a:gd name="connsiteY4" fmla="*/ 17984 h 68070"/>
                <a:gd name="connsiteX5" fmla="*/ 13277 w 13277"/>
                <a:gd name="connsiteY5" fmla="*/ 17984 h 68070"/>
                <a:gd name="connsiteX6" fmla="*/ 13277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7D25102-BF68-4480-830D-1A1BE174C734}"/>
                </a:ext>
              </a:extLst>
            </p:cNvPr>
            <p:cNvSpPr/>
            <p:nvPr/>
          </p:nvSpPr>
          <p:spPr>
            <a:xfrm rot="16200000">
              <a:off x="12018640" y="6529825"/>
              <a:ext cx="45208" cy="51256"/>
            </a:xfrm>
            <a:custGeom>
              <a:avLst/>
              <a:gdLst>
                <a:gd name="connsiteX0" fmla="*/ 40279 w 45208"/>
                <a:gd name="connsiteY0" fmla="*/ 4038 h 51256"/>
                <a:gd name="connsiteX1" fmla="*/ 45209 w 45208"/>
                <a:gd name="connsiteY1" fmla="*/ 17521 h 51256"/>
                <a:gd name="connsiteX2" fmla="*/ 45209 w 45208"/>
                <a:gd name="connsiteY2" fmla="*/ 51256 h 51256"/>
                <a:gd name="connsiteX3" fmla="*/ 31794 w 45208"/>
                <a:gd name="connsiteY3" fmla="*/ 51256 h 51256"/>
                <a:gd name="connsiteX4" fmla="*/ 31794 w 45208"/>
                <a:gd name="connsiteY4" fmla="*/ 20785 h 51256"/>
                <a:gd name="connsiteX5" fmla="*/ 30746 w 45208"/>
                <a:gd name="connsiteY5" fmla="*/ 14722 h 51256"/>
                <a:gd name="connsiteX6" fmla="*/ 23446 w 45208"/>
                <a:gd name="connsiteY6" fmla="*/ 10874 h 51256"/>
                <a:gd name="connsiteX7" fmla="*/ 14360 w 45208"/>
                <a:gd name="connsiteY7" fmla="*/ 16525 h 51256"/>
                <a:gd name="connsiteX8" fmla="*/ 13089 w 45208"/>
                <a:gd name="connsiteY8" fmla="*/ 24152 h 51256"/>
                <a:gd name="connsiteX9" fmla="*/ 13089 w 45208"/>
                <a:gd name="connsiteY9" fmla="*/ 51256 h 51256"/>
                <a:gd name="connsiteX10" fmla="*/ 0 w 45208"/>
                <a:gd name="connsiteY10" fmla="*/ 51256 h 51256"/>
                <a:gd name="connsiteX11" fmla="*/ 0 w 45208"/>
                <a:gd name="connsiteY11" fmla="*/ 1272 h 51256"/>
                <a:gd name="connsiteX12" fmla="*/ 12676 w 45208"/>
                <a:gd name="connsiteY12" fmla="*/ 1272 h 51256"/>
                <a:gd name="connsiteX13" fmla="*/ 12676 w 45208"/>
                <a:gd name="connsiteY13" fmla="*/ 8607 h 51256"/>
                <a:gd name="connsiteX14" fmla="*/ 17434 w 45208"/>
                <a:gd name="connsiteY14" fmla="*/ 3042 h 51256"/>
                <a:gd name="connsiteX15" fmla="*/ 27637 w 45208"/>
                <a:gd name="connsiteY15" fmla="*/ 19 h 51256"/>
                <a:gd name="connsiteX16" fmla="*/ 40279 w 45208"/>
                <a:gd name="connsiteY16" fmla="*/ 4038 h 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6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EE8638F-0CD8-4C03-9847-FAF25CBB620A}"/>
                </a:ext>
              </a:extLst>
            </p:cNvPr>
            <p:cNvSpPr/>
            <p:nvPr/>
          </p:nvSpPr>
          <p:spPr>
            <a:xfrm rot="16200000">
              <a:off x="12018195" y="6477145"/>
              <a:ext cx="28942" cy="68414"/>
            </a:xfrm>
            <a:custGeom>
              <a:avLst/>
              <a:gdLst>
                <a:gd name="connsiteX0" fmla="*/ 25868 w 28942"/>
                <a:gd name="connsiteY0" fmla="*/ 0 h 68414"/>
                <a:gd name="connsiteX1" fmla="*/ 28616 w 28942"/>
                <a:gd name="connsiteY1" fmla="*/ 206 h 68414"/>
                <a:gd name="connsiteX2" fmla="*/ 28616 w 28942"/>
                <a:gd name="connsiteY2" fmla="*/ 10941 h 68414"/>
                <a:gd name="connsiteX3" fmla="*/ 24923 w 28942"/>
                <a:gd name="connsiteY3" fmla="*/ 10735 h 68414"/>
                <a:gd name="connsiteX4" fmla="*/ 21333 w 28942"/>
                <a:gd name="connsiteY4" fmla="*/ 11869 h 68414"/>
                <a:gd name="connsiteX5" fmla="*/ 20354 w 28942"/>
                <a:gd name="connsiteY5" fmla="*/ 14566 h 68414"/>
                <a:gd name="connsiteX6" fmla="*/ 20354 w 28942"/>
                <a:gd name="connsiteY6" fmla="*/ 18791 h 68414"/>
                <a:gd name="connsiteX7" fmla="*/ 28943 w 28942"/>
                <a:gd name="connsiteY7" fmla="*/ 18791 h 68414"/>
                <a:gd name="connsiteX8" fmla="*/ 28943 w 28942"/>
                <a:gd name="connsiteY8" fmla="*/ 28032 h 68414"/>
                <a:gd name="connsiteX9" fmla="*/ 20354 w 28942"/>
                <a:gd name="connsiteY9" fmla="*/ 28032 h 68414"/>
                <a:gd name="connsiteX10" fmla="*/ 20354 w 28942"/>
                <a:gd name="connsiteY10" fmla="*/ 68414 h 68414"/>
                <a:gd name="connsiteX11" fmla="*/ 7352 w 28942"/>
                <a:gd name="connsiteY11" fmla="*/ 68414 h 68414"/>
                <a:gd name="connsiteX12" fmla="*/ 7352 w 28942"/>
                <a:gd name="connsiteY12" fmla="*/ 28032 h 68414"/>
                <a:gd name="connsiteX13" fmla="*/ 0 w 28942"/>
                <a:gd name="connsiteY13" fmla="*/ 28032 h 68414"/>
                <a:gd name="connsiteX14" fmla="*/ 0 w 28942"/>
                <a:gd name="connsiteY14" fmla="*/ 18791 h 68414"/>
                <a:gd name="connsiteX15" fmla="*/ 7163 w 28942"/>
                <a:gd name="connsiteY15" fmla="*/ 18791 h 68414"/>
                <a:gd name="connsiteX16" fmla="*/ 7163 w 28942"/>
                <a:gd name="connsiteY16" fmla="*/ 15579 h 68414"/>
                <a:gd name="connsiteX17" fmla="*/ 9877 w 28942"/>
                <a:gd name="connsiteY17" fmla="*/ 4500 h 68414"/>
                <a:gd name="connsiteX18" fmla="*/ 23618 w 28942"/>
                <a:gd name="connsiteY18" fmla="*/ 0 h 68414"/>
                <a:gd name="connsiteX19" fmla="*/ 25868 w 28942"/>
                <a:gd name="connsiteY19" fmla="*/ 0 h 6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42" h="68414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481A8A-8F5D-40BC-B59F-D4CEF2254BB7}"/>
                </a:ext>
              </a:extLst>
            </p:cNvPr>
            <p:cNvSpPr/>
            <p:nvPr/>
          </p:nvSpPr>
          <p:spPr>
            <a:xfrm rot="16200000">
              <a:off x="12016830" y="6161182"/>
              <a:ext cx="49036" cy="51048"/>
            </a:xfrm>
            <a:custGeom>
              <a:avLst/>
              <a:gdLst>
                <a:gd name="connsiteX0" fmla="*/ 42949 w 49036"/>
                <a:gd name="connsiteY0" fmla="*/ 43542 h 51048"/>
                <a:gd name="connsiteX1" fmla="*/ 24519 w 49036"/>
                <a:gd name="connsiteY1" fmla="*/ 51049 h 51048"/>
                <a:gd name="connsiteX2" fmla="*/ 6071 w 49036"/>
                <a:gd name="connsiteY2" fmla="*/ 43542 h 51048"/>
                <a:gd name="connsiteX3" fmla="*/ 8 w 49036"/>
                <a:gd name="connsiteY3" fmla="*/ 25576 h 51048"/>
                <a:gd name="connsiteX4" fmla="*/ 6071 w 49036"/>
                <a:gd name="connsiteY4" fmla="*/ 7592 h 51048"/>
                <a:gd name="connsiteX5" fmla="*/ 24519 w 49036"/>
                <a:gd name="connsiteY5" fmla="*/ 0 h 51048"/>
                <a:gd name="connsiteX6" fmla="*/ 42949 w 49036"/>
                <a:gd name="connsiteY6" fmla="*/ 7592 h 51048"/>
                <a:gd name="connsiteX7" fmla="*/ 49030 w 49036"/>
                <a:gd name="connsiteY7" fmla="*/ 25576 h 51048"/>
                <a:gd name="connsiteX8" fmla="*/ 42949 w 49036"/>
                <a:gd name="connsiteY8" fmla="*/ 43542 h 51048"/>
                <a:gd name="connsiteX9" fmla="*/ 32918 w 49036"/>
                <a:gd name="connsiteY9" fmla="*/ 36672 h 51048"/>
                <a:gd name="connsiteX10" fmla="*/ 35872 w 49036"/>
                <a:gd name="connsiteY10" fmla="*/ 25576 h 51048"/>
                <a:gd name="connsiteX11" fmla="*/ 32918 w 49036"/>
                <a:gd name="connsiteY11" fmla="*/ 14480 h 51048"/>
                <a:gd name="connsiteX12" fmla="*/ 17172 w 49036"/>
                <a:gd name="connsiteY12" fmla="*/ 13307 h 51048"/>
                <a:gd name="connsiteX13" fmla="*/ 15999 w 49036"/>
                <a:gd name="connsiteY13" fmla="*/ 14480 h 51048"/>
                <a:gd name="connsiteX14" fmla="*/ 13027 w 49036"/>
                <a:gd name="connsiteY14" fmla="*/ 25576 h 51048"/>
                <a:gd name="connsiteX15" fmla="*/ 15999 w 49036"/>
                <a:gd name="connsiteY15" fmla="*/ 36706 h 51048"/>
                <a:gd name="connsiteX16" fmla="*/ 31692 w 49036"/>
                <a:gd name="connsiteY16" fmla="*/ 37932 h 51048"/>
                <a:gd name="connsiteX17" fmla="*/ 32918 w 49036"/>
                <a:gd name="connsiteY17" fmla="*/ 36706 h 51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036" h="51048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50965BC-1532-45A0-8F0A-37DAEC7BBE6F}"/>
                </a:ext>
              </a:extLst>
            </p:cNvPr>
            <p:cNvSpPr/>
            <p:nvPr/>
          </p:nvSpPr>
          <p:spPr>
            <a:xfrm rot="16200000">
              <a:off x="12005374" y="6370523"/>
              <a:ext cx="71791" cy="51205"/>
            </a:xfrm>
            <a:custGeom>
              <a:avLst/>
              <a:gdLst>
                <a:gd name="connsiteX0" fmla="*/ 62643 w 71791"/>
                <a:gd name="connsiteY0" fmla="*/ 1307 h 51205"/>
                <a:gd name="connsiteX1" fmla="*/ 68466 w 71791"/>
                <a:gd name="connsiteY1" fmla="*/ 5808 h 51205"/>
                <a:gd name="connsiteX2" fmla="*/ 71317 w 71791"/>
                <a:gd name="connsiteY2" fmla="*/ 12249 h 51205"/>
                <a:gd name="connsiteX3" fmla="*/ 71781 w 71791"/>
                <a:gd name="connsiteY3" fmla="*/ 19635 h 51205"/>
                <a:gd name="connsiteX4" fmla="*/ 71781 w 71791"/>
                <a:gd name="connsiteY4" fmla="*/ 51205 h 51205"/>
                <a:gd name="connsiteX5" fmla="*/ 58349 w 71791"/>
                <a:gd name="connsiteY5" fmla="*/ 51205 h 51205"/>
                <a:gd name="connsiteX6" fmla="*/ 58349 w 71791"/>
                <a:gd name="connsiteY6" fmla="*/ 19308 h 51205"/>
                <a:gd name="connsiteX7" fmla="*/ 57438 w 71791"/>
                <a:gd name="connsiteY7" fmla="*/ 14636 h 51205"/>
                <a:gd name="connsiteX8" fmla="*/ 50997 w 71791"/>
                <a:gd name="connsiteY8" fmla="*/ 11201 h 51205"/>
                <a:gd name="connsiteX9" fmla="*/ 43525 w 71791"/>
                <a:gd name="connsiteY9" fmla="*/ 15701 h 51205"/>
                <a:gd name="connsiteX10" fmla="*/ 42460 w 71791"/>
                <a:gd name="connsiteY10" fmla="*/ 21455 h 51205"/>
                <a:gd name="connsiteX11" fmla="*/ 42460 w 71791"/>
                <a:gd name="connsiteY11" fmla="*/ 51205 h 51205"/>
                <a:gd name="connsiteX12" fmla="*/ 29269 w 71791"/>
                <a:gd name="connsiteY12" fmla="*/ 51205 h 51205"/>
                <a:gd name="connsiteX13" fmla="*/ 29269 w 71791"/>
                <a:gd name="connsiteY13" fmla="*/ 21387 h 51205"/>
                <a:gd name="connsiteX14" fmla="*/ 28359 w 71791"/>
                <a:gd name="connsiteY14" fmla="*/ 14911 h 51205"/>
                <a:gd name="connsiteX15" fmla="*/ 21883 w 71791"/>
                <a:gd name="connsiteY15" fmla="*/ 11270 h 51205"/>
                <a:gd name="connsiteX16" fmla="*/ 14342 w 71791"/>
                <a:gd name="connsiteY16" fmla="*/ 14911 h 51205"/>
                <a:gd name="connsiteX17" fmla="*/ 13277 w 71791"/>
                <a:gd name="connsiteY17" fmla="*/ 21060 h 51205"/>
                <a:gd name="connsiteX18" fmla="*/ 13277 w 71791"/>
                <a:gd name="connsiteY18" fmla="*/ 51205 h 51205"/>
                <a:gd name="connsiteX19" fmla="*/ 0 w 71791"/>
                <a:gd name="connsiteY19" fmla="*/ 51205 h 51205"/>
                <a:gd name="connsiteX20" fmla="*/ 0 w 71791"/>
                <a:gd name="connsiteY20" fmla="*/ 1221 h 51205"/>
                <a:gd name="connsiteX21" fmla="*/ 12728 w 71791"/>
                <a:gd name="connsiteY21" fmla="*/ 1221 h 51205"/>
                <a:gd name="connsiteX22" fmla="*/ 12728 w 71791"/>
                <a:gd name="connsiteY22" fmla="*/ 8556 h 51205"/>
                <a:gd name="connsiteX23" fmla="*/ 17331 w 71791"/>
                <a:gd name="connsiteY23" fmla="*/ 2991 h 51205"/>
                <a:gd name="connsiteX24" fmla="*/ 36483 w 71791"/>
                <a:gd name="connsiteY24" fmla="*/ 2578 h 51205"/>
                <a:gd name="connsiteX25" fmla="*/ 40726 w 71791"/>
                <a:gd name="connsiteY25" fmla="*/ 8556 h 51205"/>
                <a:gd name="connsiteX26" fmla="*/ 47098 w 71791"/>
                <a:gd name="connsiteY26" fmla="*/ 2063 h 51205"/>
                <a:gd name="connsiteX27" fmla="*/ 56116 w 71791"/>
                <a:gd name="connsiteY27" fmla="*/ 2 h 51205"/>
                <a:gd name="connsiteX28" fmla="*/ 62643 w 71791"/>
                <a:gd name="connsiteY28" fmla="*/ 1307 h 5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1791" h="51205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C1AF2FC-06E9-481D-AAD4-A185594C60F4}"/>
                </a:ext>
              </a:extLst>
            </p:cNvPr>
            <p:cNvSpPr/>
            <p:nvPr/>
          </p:nvSpPr>
          <p:spPr>
            <a:xfrm rot="16200000">
              <a:off x="12026199" y="6307354"/>
              <a:ext cx="13277" cy="68070"/>
            </a:xfrm>
            <a:custGeom>
              <a:avLst/>
              <a:gdLst>
                <a:gd name="connsiteX0" fmla="*/ 13278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8 w 13277"/>
                <a:gd name="connsiteY3" fmla="*/ 0 h 68070"/>
                <a:gd name="connsiteX4" fmla="*/ 0 w 13277"/>
                <a:gd name="connsiteY4" fmla="*/ 17984 h 68070"/>
                <a:gd name="connsiteX5" fmla="*/ 13278 w 13277"/>
                <a:gd name="connsiteY5" fmla="*/ 17984 h 68070"/>
                <a:gd name="connsiteX6" fmla="*/ 13278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A1342B2-AEC9-4B66-9503-4CFC2ED0B897}"/>
                </a:ext>
              </a:extLst>
            </p:cNvPr>
            <p:cNvSpPr/>
            <p:nvPr/>
          </p:nvSpPr>
          <p:spPr>
            <a:xfrm rot="16200000">
              <a:off x="12018641" y="6273739"/>
              <a:ext cx="45208" cy="51255"/>
            </a:xfrm>
            <a:custGeom>
              <a:avLst/>
              <a:gdLst>
                <a:gd name="connsiteX0" fmla="*/ 40296 w 45208"/>
                <a:gd name="connsiteY0" fmla="*/ 4038 h 51255"/>
                <a:gd name="connsiteX1" fmla="*/ 45209 w 45208"/>
                <a:gd name="connsiteY1" fmla="*/ 17521 h 51255"/>
                <a:gd name="connsiteX2" fmla="*/ 45209 w 45208"/>
                <a:gd name="connsiteY2" fmla="*/ 51256 h 51255"/>
                <a:gd name="connsiteX3" fmla="*/ 31794 w 45208"/>
                <a:gd name="connsiteY3" fmla="*/ 51256 h 51255"/>
                <a:gd name="connsiteX4" fmla="*/ 31794 w 45208"/>
                <a:gd name="connsiteY4" fmla="*/ 20785 h 51255"/>
                <a:gd name="connsiteX5" fmla="*/ 30746 w 45208"/>
                <a:gd name="connsiteY5" fmla="*/ 14722 h 51255"/>
                <a:gd name="connsiteX6" fmla="*/ 23446 w 45208"/>
                <a:gd name="connsiteY6" fmla="*/ 10874 h 51255"/>
                <a:gd name="connsiteX7" fmla="*/ 14377 w 45208"/>
                <a:gd name="connsiteY7" fmla="*/ 16525 h 51255"/>
                <a:gd name="connsiteX8" fmla="*/ 13089 w 45208"/>
                <a:gd name="connsiteY8" fmla="*/ 24151 h 51255"/>
                <a:gd name="connsiteX9" fmla="*/ 13089 w 45208"/>
                <a:gd name="connsiteY9" fmla="*/ 51256 h 51255"/>
                <a:gd name="connsiteX10" fmla="*/ 0 w 45208"/>
                <a:gd name="connsiteY10" fmla="*/ 51256 h 51255"/>
                <a:gd name="connsiteX11" fmla="*/ 0 w 45208"/>
                <a:gd name="connsiteY11" fmla="*/ 1272 h 51255"/>
                <a:gd name="connsiteX12" fmla="*/ 12676 w 45208"/>
                <a:gd name="connsiteY12" fmla="*/ 1272 h 51255"/>
                <a:gd name="connsiteX13" fmla="*/ 12676 w 45208"/>
                <a:gd name="connsiteY13" fmla="*/ 8607 h 51255"/>
                <a:gd name="connsiteX14" fmla="*/ 17434 w 45208"/>
                <a:gd name="connsiteY14" fmla="*/ 3042 h 51255"/>
                <a:gd name="connsiteX15" fmla="*/ 27637 w 45208"/>
                <a:gd name="connsiteY15" fmla="*/ 18 h 51255"/>
                <a:gd name="connsiteX16" fmla="*/ 40296 w 45208"/>
                <a:gd name="connsiteY16" fmla="*/ 4038 h 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5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41AC723-9EBC-48CA-B1C7-D2D5419421B0}"/>
                </a:ext>
              </a:extLst>
            </p:cNvPr>
            <p:cNvSpPr/>
            <p:nvPr/>
          </p:nvSpPr>
          <p:spPr>
            <a:xfrm rot="16200000">
              <a:off x="12017163" y="6218687"/>
              <a:ext cx="48082" cy="51510"/>
            </a:xfrm>
            <a:custGeom>
              <a:avLst/>
              <a:gdLst>
                <a:gd name="connsiteX0" fmla="*/ 35384 w 48082"/>
                <a:gd name="connsiteY0" fmla="*/ 2281 h 51510"/>
                <a:gd name="connsiteX1" fmla="*/ 43766 w 48082"/>
                <a:gd name="connsiteY1" fmla="*/ 9444 h 51510"/>
                <a:gd name="connsiteX2" fmla="*/ 47631 w 48082"/>
                <a:gd name="connsiteY2" fmla="*/ 19475 h 51510"/>
                <a:gd name="connsiteX3" fmla="*/ 48043 w 48082"/>
                <a:gd name="connsiteY3" fmla="*/ 29094 h 51510"/>
                <a:gd name="connsiteX4" fmla="*/ 12711 w 48082"/>
                <a:gd name="connsiteY4" fmla="*/ 29094 h 51510"/>
                <a:gd name="connsiteX5" fmla="*/ 17778 w 48082"/>
                <a:gd name="connsiteY5" fmla="*/ 39400 h 51510"/>
                <a:gd name="connsiteX6" fmla="*/ 24769 w 48082"/>
                <a:gd name="connsiteY6" fmla="*/ 41237 h 51510"/>
                <a:gd name="connsiteX7" fmla="*/ 31811 w 48082"/>
                <a:gd name="connsiteY7" fmla="*/ 39004 h 51510"/>
                <a:gd name="connsiteX8" fmla="*/ 34405 w 48082"/>
                <a:gd name="connsiteY8" fmla="*/ 35672 h 51510"/>
                <a:gd name="connsiteX9" fmla="*/ 47407 w 48082"/>
                <a:gd name="connsiteY9" fmla="*/ 35672 h 51510"/>
                <a:gd name="connsiteX10" fmla="*/ 42701 w 48082"/>
                <a:gd name="connsiteY10" fmla="*/ 44432 h 51510"/>
                <a:gd name="connsiteX11" fmla="*/ 24459 w 48082"/>
                <a:gd name="connsiteY11" fmla="*/ 51509 h 51510"/>
                <a:gd name="connsiteX12" fmla="*/ 7386 w 48082"/>
                <a:gd name="connsiteY12" fmla="*/ 45549 h 51510"/>
                <a:gd name="connsiteX13" fmla="*/ 0 w 48082"/>
                <a:gd name="connsiteY13" fmla="*/ 26139 h 51510"/>
                <a:gd name="connsiteX14" fmla="*/ 6682 w 48082"/>
                <a:gd name="connsiteY14" fmla="*/ 6816 h 51510"/>
                <a:gd name="connsiteX15" fmla="*/ 23961 w 48082"/>
                <a:gd name="connsiteY15" fmla="*/ 14 h 51510"/>
                <a:gd name="connsiteX16" fmla="*/ 35384 w 48082"/>
                <a:gd name="connsiteY16" fmla="*/ 2281 h 51510"/>
                <a:gd name="connsiteX17" fmla="*/ 16490 w 48082"/>
                <a:gd name="connsiteY17" fmla="*/ 13223 h 51510"/>
                <a:gd name="connsiteX18" fmla="*/ 13054 w 48082"/>
                <a:gd name="connsiteY18" fmla="*/ 20797 h 51510"/>
                <a:gd name="connsiteX19" fmla="*/ 34886 w 48082"/>
                <a:gd name="connsiteY19" fmla="*/ 20797 h 51510"/>
                <a:gd name="connsiteX20" fmla="*/ 31450 w 48082"/>
                <a:gd name="connsiteY20" fmla="*/ 13137 h 51510"/>
                <a:gd name="connsiteX21" fmla="*/ 23961 w 48082"/>
                <a:gd name="connsiteY21" fmla="*/ 10491 h 51510"/>
                <a:gd name="connsiteX22" fmla="*/ 16490 w 48082"/>
                <a:gd name="connsiteY22" fmla="*/ 13223 h 5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8082" h="5151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4" name="Copyright">
            <a:extLst>
              <a:ext uri="{FF2B5EF4-FFF2-40B4-BE49-F238E27FC236}">
                <a16:creationId xmlns:a16="http://schemas.microsoft.com/office/drawing/2014/main" id="{2B7A128F-26DE-473C-95DA-CCAF4D373141}"/>
              </a:ext>
            </a:extLst>
          </p:cNvPr>
          <p:cNvSpPr txBox="1"/>
          <p:nvPr userDrawn="1"/>
        </p:nvSpPr>
        <p:spPr>
          <a:xfrm rot="16200000">
            <a:off x="11250971" y="5290633"/>
            <a:ext cx="1567737" cy="110800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lvl="0" algn="l" rtl="0"/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0. All rights reserved.</a:t>
            </a: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3C13A330-69BE-41FF-B32E-FB999A7374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3" y="6445294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 rtl="0">
              <a:defRPr lang="en-IN">
                <a:solidFill>
                  <a:schemeClr val="tx2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21F99190-1A65-41A8-BBA7-98BD441A8C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3" y="6465614"/>
            <a:ext cx="150682" cy="138499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39455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3944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4A727BF-EF41-4850-A868-11C0325A6C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8" name="Picture 7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A415120D-3668-49C1-AE11-A5139E17FB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4" t="3933" r="2214" b="3933"/>
          <a:stretch/>
        </p:blipFill>
        <p:spPr>
          <a:xfrm>
            <a:off x="269998" y="270000"/>
            <a:ext cx="11652001" cy="631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BE857BB-5DDF-4AEA-8F22-D5F9820E5C07}"/>
              </a:ext>
            </a:extLst>
          </p:cNvPr>
          <p:cNvSpPr/>
          <p:nvPr userDrawn="1"/>
        </p:nvSpPr>
        <p:spPr>
          <a:xfrm>
            <a:off x="536448" y="540000"/>
            <a:ext cx="6363891" cy="631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6" y="3066686"/>
            <a:ext cx="5337943" cy="1231106"/>
          </a:xfrm>
        </p:spPr>
        <p:txBody>
          <a:bodyPr vert="horz" wrap="square" lIns="0" tIns="0" rIns="0" bIns="0" rtlCol="0" anchor="b">
            <a:spAutoFit/>
          </a:bodyPr>
          <a:lstStyle>
            <a:lvl1pPr rtl="0">
              <a:defRPr lang="en-IN" sz="5000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6" y="4348579"/>
            <a:ext cx="5337943" cy="292388"/>
          </a:xfrm>
        </p:spPr>
        <p:txBody>
          <a:bodyPr vert="horz" wrap="square" lIns="0" tIns="0" rIns="0" bIns="0" rtlCol="0" anchor="t">
            <a:spAutoFit/>
          </a:bodyPr>
          <a:lstStyle>
            <a:lvl1pPr rtl="0">
              <a:defRPr lang="en-IN" sz="2000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28600" lvl="0" indent="-228600"/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923689"/>
            <a:ext cx="1582738" cy="1938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rtl="0">
              <a:defRPr lang="en-IN" sz="140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fld id="{C285226A-F240-4F22-9D48-062E79258A8D}" type="datetime4">
              <a:rPr lang="en-US" smtClean="0"/>
              <a:pPr marL="22860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t>April 17, 2023</a:t>
            </a:fld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16DBE00-5C8F-4D3E-95EE-B4530AF96EC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02896" y="901732"/>
            <a:ext cx="2497452" cy="574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5894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98406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F148355-9A23-4C82-8F0E-F21594843C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878A702-A86E-4356-99F5-6CC007B3A84C}"/>
              </a:ext>
            </a:extLst>
          </p:cNvPr>
          <p:cNvGrpSpPr/>
          <p:nvPr userDrawn="1"/>
        </p:nvGrpSpPr>
        <p:grpSpPr>
          <a:xfrm>
            <a:off x="11998459" y="6162188"/>
            <a:ext cx="68500" cy="441924"/>
            <a:chOff x="11998459" y="6162188"/>
            <a:chExt cx="68500" cy="441924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75A2218-59DA-4B99-8DEE-5DF1044A636F}"/>
                </a:ext>
              </a:extLst>
            </p:cNvPr>
            <p:cNvSpPr/>
            <p:nvPr/>
          </p:nvSpPr>
          <p:spPr>
            <a:xfrm rot="16200000">
              <a:off x="12063068" y="6476346"/>
              <a:ext cx="17" cy="1717"/>
            </a:xfrm>
            <a:custGeom>
              <a:avLst/>
              <a:gdLst>
                <a:gd name="connsiteX0" fmla="*/ 0 w 17"/>
                <a:gd name="connsiteY0" fmla="*/ 0 h 1717"/>
                <a:gd name="connsiteX1" fmla="*/ 17 w 17"/>
                <a:gd name="connsiteY1" fmla="*/ 0 h 1717"/>
                <a:gd name="connsiteX2" fmla="*/ 17 w 17"/>
                <a:gd name="connsiteY2" fmla="*/ 0 h 1717"/>
                <a:gd name="connsiteX3" fmla="*/ 0 w 17"/>
                <a:gd name="connsiteY3" fmla="*/ 0 h 1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" h="1717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E8F166A-EB8B-4235-A114-5C9D062319D5}"/>
                </a:ext>
              </a:extLst>
            </p:cNvPr>
            <p:cNvSpPr/>
            <p:nvPr/>
          </p:nvSpPr>
          <p:spPr>
            <a:xfrm rot="16200000">
              <a:off x="12023737" y="6455896"/>
              <a:ext cx="453" cy="271"/>
            </a:xfrm>
            <a:custGeom>
              <a:avLst/>
              <a:gdLst>
                <a:gd name="connsiteX0" fmla="*/ 0 w 453"/>
                <a:gd name="connsiteY0" fmla="*/ 0 h 271"/>
                <a:gd name="connsiteX1" fmla="*/ 447 w 453"/>
                <a:gd name="connsiteY1" fmla="*/ 240 h 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" h="271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2FC6C6B-C81D-4FE7-9F3B-65F6B734168D}"/>
                </a:ext>
              </a:extLst>
            </p:cNvPr>
            <p:cNvSpPr/>
            <p:nvPr/>
          </p:nvSpPr>
          <p:spPr>
            <a:xfrm rot="16200000">
              <a:off x="12023907" y="6477766"/>
              <a:ext cx="15" cy="76"/>
            </a:xfrm>
            <a:custGeom>
              <a:avLst/>
              <a:gdLst>
                <a:gd name="connsiteX0" fmla="*/ 15 w 15"/>
                <a:gd name="connsiteY0" fmla="*/ 38 h 76"/>
                <a:gd name="connsiteX1" fmla="*/ 15 w 15"/>
                <a:gd name="connsiteY1" fmla="*/ 38 h 76"/>
                <a:gd name="connsiteX2" fmla="*/ 15 w 15"/>
                <a:gd name="connsiteY2" fmla="*/ 38 h 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" h="76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88EBE5-A780-49FB-9EAB-A8F48E23FAC5}"/>
                </a:ext>
              </a:extLst>
            </p:cNvPr>
            <p:cNvSpPr/>
            <p:nvPr/>
          </p:nvSpPr>
          <p:spPr>
            <a:xfrm rot="16200000">
              <a:off x="12021636" y="6473651"/>
              <a:ext cx="261" cy="103"/>
            </a:xfrm>
            <a:custGeom>
              <a:avLst/>
              <a:gdLst>
                <a:gd name="connsiteX0" fmla="*/ 262 w 261"/>
                <a:gd name="connsiteY0" fmla="*/ 0 h 103"/>
                <a:gd name="connsiteX1" fmla="*/ 56 w 261"/>
                <a:gd name="connsiteY1" fmla="*/ 103 h 103"/>
                <a:gd name="connsiteX2" fmla="*/ 56 w 261"/>
                <a:gd name="connsiteY2" fmla="*/ 103 h 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" h="103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ADB921C-741F-494D-9C24-2E06B3F237E1}"/>
                </a:ext>
              </a:extLst>
            </p:cNvPr>
            <p:cNvSpPr/>
            <p:nvPr/>
          </p:nvSpPr>
          <p:spPr>
            <a:xfrm rot="16200000">
              <a:off x="12015635" y="6442208"/>
              <a:ext cx="51323" cy="51323"/>
            </a:xfrm>
            <a:custGeom>
              <a:avLst/>
              <a:gdLst>
                <a:gd name="connsiteX0" fmla="*/ 25662 w 51323"/>
                <a:gd name="connsiteY0" fmla="*/ 0 h 51323"/>
                <a:gd name="connsiteX1" fmla="*/ 0 w 51323"/>
                <a:gd name="connsiteY1" fmla="*/ 25662 h 51323"/>
                <a:gd name="connsiteX2" fmla="*/ 25662 w 51323"/>
                <a:gd name="connsiteY2" fmla="*/ 51323 h 51323"/>
                <a:gd name="connsiteX3" fmla="*/ 51324 w 51323"/>
                <a:gd name="connsiteY3" fmla="*/ 25662 h 51323"/>
                <a:gd name="connsiteX4" fmla="*/ 51324 w 51323"/>
                <a:gd name="connsiteY4" fmla="*/ 25610 h 51323"/>
                <a:gd name="connsiteX5" fmla="*/ 25679 w 51323"/>
                <a:gd name="connsiteY5" fmla="*/ 0 h 51323"/>
                <a:gd name="connsiteX6" fmla="*/ 25662 w 51323"/>
                <a:gd name="connsiteY6" fmla="*/ 0 h 51323"/>
                <a:gd name="connsiteX7" fmla="*/ 26967 w 51323"/>
                <a:gd name="connsiteY7" fmla="*/ 15648 h 51323"/>
                <a:gd name="connsiteX8" fmla="*/ 26967 w 51323"/>
                <a:gd name="connsiteY8" fmla="*/ 15837 h 51323"/>
                <a:gd name="connsiteX9" fmla="*/ 26744 w 51323"/>
                <a:gd name="connsiteY9" fmla="*/ 15837 h 51323"/>
                <a:gd name="connsiteX10" fmla="*/ 26933 w 51323"/>
                <a:gd name="connsiteY10" fmla="*/ 16163 h 51323"/>
                <a:gd name="connsiteX11" fmla="*/ 27036 w 51323"/>
                <a:gd name="connsiteY11" fmla="*/ 16163 h 51323"/>
                <a:gd name="connsiteX12" fmla="*/ 27294 w 51323"/>
                <a:gd name="connsiteY12" fmla="*/ 16489 h 51323"/>
                <a:gd name="connsiteX13" fmla="*/ 27294 w 51323"/>
                <a:gd name="connsiteY13" fmla="*/ 16489 h 51323"/>
                <a:gd name="connsiteX14" fmla="*/ 27294 w 51323"/>
                <a:gd name="connsiteY14" fmla="*/ 16489 h 51323"/>
                <a:gd name="connsiteX15" fmla="*/ 27294 w 51323"/>
                <a:gd name="connsiteY15" fmla="*/ 16489 h 51323"/>
                <a:gd name="connsiteX16" fmla="*/ 27156 w 51323"/>
                <a:gd name="connsiteY16" fmla="*/ 16489 h 51323"/>
                <a:gd name="connsiteX17" fmla="*/ 27156 w 51323"/>
                <a:gd name="connsiteY17" fmla="*/ 16593 h 51323"/>
                <a:gd name="connsiteX18" fmla="*/ 27156 w 51323"/>
                <a:gd name="connsiteY18" fmla="*/ 16593 h 51323"/>
                <a:gd name="connsiteX19" fmla="*/ 27379 w 51323"/>
                <a:gd name="connsiteY19" fmla="*/ 16593 h 51323"/>
                <a:gd name="connsiteX20" fmla="*/ 27276 w 51323"/>
                <a:gd name="connsiteY20" fmla="*/ 16799 h 51323"/>
                <a:gd name="connsiteX21" fmla="*/ 26744 w 51323"/>
                <a:gd name="connsiteY21" fmla="*/ 16799 h 51323"/>
                <a:gd name="connsiteX22" fmla="*/ 26074 w 51323"/>
                <a:gd name="connsiteY22" fmla="*/ 16902 h 51323"/>
                <a:gd name="connsiteX23" fmla="*/ 25868 w 51323"/>
                <a:gd name="connsiteY23" fmla="*/ 16988 h 51323"/>
                <a:gd name="connsiteX24" fmla="*/ 25559 w 51323"/>
                <a:gd name="connsiteY24" fmla="*/ 17142 h 51323"/>
                <a:gd name="connsiteX25" fmla="*/ 25404 w 51323"/>
                <a:gd name="connsiteY25" fmla="*/ 17142 h 51323"/>
                <a:gd name="connsiteX26" fmla="*/ 25816 w 51323"/>
                <a:gd name="connsiteY26" fmla="*/ 16764 h 51323"/>
                <a:gd name="connsiteX27" fmla="*/ 26194 w 51323"/>
                <a:gd name="connsiteY27" fmla="*/ 16764 h 51323"/>
                <a:gd name="connsiteX28" fmla="*/ 26349 w 51323"/>
                <a:gd name="connsiteY28" fmla="*/ 16541 h 51323"/>
                <a:gd name="connsiteX29" fmla="*/ 26005 w 51323"/>
                <a:gd name="connsiteY29" fmla="*/ 16627 h 51323"/>
                <a:gd name="connsiteX30" fmla="*/ 25902 w 51323"/>
                <a:gd name="connsiteY30" fmla="*/ 16627 h 51323"/>
                <a:gd name="connsiteX31" fmla="*/ 25662 w 51323"/>
                <a:gd name="connsiteY31" fmla="*/ 16627 h 51323"/>
                <a:gd name="connsiteX32" fmla="*/ 25662 w 51323"/>
                <a:gd name="connsiteY32" fmla="*/ 16627 h 51323"/>
                <a:gd name="connsiteX33" fmla="*/ 25662 w 51323"/>
                <a:gd name="connsiteY33" fmla="*/ 16627 h 51323"/>
                <a:gd name="connsiteX34" fmla="*/ 26005 w 51323"/>
                <a:gd name="connsiteY34" fmla="*/ 16215 h 51323"/>
                <a:gd name="connsiteX35" fmla="*/ 25834 w 51323"/>
                <a:gd name="connsiteY35" fmla="*/ 16215 h 51323"/>
                <a:gd name="connsiteX36" fmla="*/ 26297 w 51323"/>
                <a:gd name="connsiteY36" fmla="*/ 16060 h 51323"/>
                <a:gd name="connsiteX37" fmla="*/ 26297 w 51323"/>
                <a:gd name="connsiteY37" fmla="*/ 16060 h 51323"/>
                <a:gd name="connsiteX38" fmla="*/ 26297 w 51323"/>
                <a:gd name="connsiteY38" fmla="*/ 15785 h 51323"/>
                <a:gd name="connsiteX39" fmla="*/ 26194 w 51323"/>
                <a:gd name="connsiteY39" fmla="*/ 15785 h 51323"/>
                <a:gd name="connsiteX40" fmla="*/ 26194 w 51323"/>
                <a:gd name="connsiteY40" fmla="*/ 15785 h 51323"/>
                <a:gd name="connsiteX41" fmla="*/ 26194 w 51323"/>
                <a:gd name="connsiteY41" fmla="*/ 15493 h 51323"/>
                <a:gd name="connsiteX42" fmla="*/ 25834 w 51323"/>
                <a:gd name="connsiteY42" fmla="*/ 15493 h 51323"/>
                <a:gd name="connsiteX43" fmla="*/ 25834 w 51323"/>
                <a:gd name="connsiteY43" fmla="*/ 15596 h 51323"/>
                <a:gd name="connsiteX44" fmla="*/ 25713 w 51323"/>
                <a:gd name="connsiteY44" fmla="*/ 15596 h 51323"/>
                <a:gd name="connsiteX45" fmla="*/ 25713 w 51323"/>
                <a:gd name="connsiteY45" fmla="*/ 15459 h 51323"/>
                <a:gd name="connsiteX46" fmla="*/ 25713 w 51323"/>
                <a:gd name="connsiteY46" fmla="*/ 15459 h 51323"/>
                <a:gd name="connsiteX47" fmla="*/ 25816 w 51323"/>
                <a:gd name="connsiteY47" fmla="*/ 15236 h 51323"/>
                <a:gd name="connsiteX48" fmla="*/ 25816 w 51323"/>
                <a:gd name="connsiteY48" fmla="*/ 15064 h 51323"/>
                <a:gd name="connsiteX49" fmla="*/ 25816 w 51323"/>
                <a:gd name="connsiteY49" fmla="*/ 14961 h 51323"/>
                <a:gd name="connsiteX50" fmla="*/ 25816 w 51323"/>
                <a:gd name="connsiteY50" fmla="*/ 15081 h 51323"/>
                <a:gd name="connsiteX51" fmla="*/ 25816 w 51323"/>
                <a:gd name="connsiteY51" fmla="*/ 15081 h 51323"/>
                <a:gd name="connsiteX52" fmla="*/ 25816 w 51323"/>
                <a:gd name="connsiteY52" fmla="*/ 15081 h 51323"/>
                <a:gd name="connsiteX53" fmla="*/ 25816 w 51323"/>
                <a:gd name="connsiteY53" fmla="*/ 15081 h 51323"/>
                <a:gd name="connsiteX54" fmla="*/ 25816 w 51323"/>
                <a:gd name="connsiteY54" fmla="*/ 15356 h 51323"/>
                <a:gd name="connsiteX55" fmla="*/ 25816 w 51323"/>
                <a:gd name="connsiteY55" fmla="*/ 15167 h 51323"/>
                <a:gd name="connsiteX56" fmla="*/ 25919 w 51323"/>
                <a:gd name="connsiteY56" fmla="*/ 14823 h 51323"/>
                <a:gd name="connsiteX57" fmla="*/ 25919 w 51323"/>
                <a:gd name="connsiteY57" fmla="*/ 14823 h 51323"/>
                <a:gd name="connsiteX58" fmla="*/ 25731 w 51323"/>
                <a:gd name="connsiteY58" fmla="*/ 14823 h 51323"/>
                <a:gd name="connsiteX59" fmla="*/ 25731 w 51323"/>
                <a:gd name="connsiteY59" fmla="*/ 14823 h 51323"/>
                <a:gd name="connsiteX60" fmla="*/ 25868 w 51323"/>
                <a:gd name="connsiteY60" fmla="*/ 14737 h 51323"/>
                <a:gd name="connsiteX61" fmla="*/ 25868 w 51323"/>
                <a:gd name="connsiteY61" fmla="*/ 14737 h 51323"/>
                <a:gd name="connsiteX62" fmla="*/ 25868 w 51323"/>
                <a:gd name="connsiteY62" fmla="*/ 14737 h 51323"/>
                <a:gd name="connsiteX63" fmla="*/ 25868 w 51323"/>
                <a:gd name="connsiteY63" fmla="*/ 14737 h 51323"/>
                <a:gd name="connsiteX64" fmla="*/ 25868 w 51323"/>
                <a:gd name="connsiteY64" fmla="*/ 14737 h 51323"/>
                <a:gd name="connsiteX65" fmla="*/ 25868 w 51323"/>
                <a:gd name="connsiteY65" fmla="*/ 14737 h 51323"/>
                <a:gd name="connsiteX66" fmla="*/ 25868 w 51323"/>
                <a:gd name="connsiteY66" fmla="*/ 14652 h 51323"/>
                <a:gd name="connsiteX67" fmla="*/ 25868 w 51323"/>
                <a:gd name="connsiteY67" fmla="*/ 14652 h 51323"/>
                <a:gd name="connsiteX68" fmla="*/ 25868 w 51323"/>
                <a:gd name="connsiteY68" fmla="*/ 14514 h 51323"/>
                <a:gd name="connsiteX69" fmla="*/ 25868 w 51323"/>
                <a:gd name="connsiteY69" fmla="*/ 14514 h 51323"/>
                <a:gd name="connsiteX70" fmla="*/ 25868 w 51323"/>
                <a:gd name="connsiteY70" fmla="*/ 14514 h 51323"/>
                <a:gd name="connsiteX71" fmla="*/ 25971 w 51323"/>
                <a:gd name="connsiteY71" fmla="*/ 14514 h 51323"/>
                <a:gd name="connsiteX72" fmla="*/ 25971 w 51323"/>
                <a:gd name="connsiteY72" fmla="*/ 14428 h 51323"/>
                <a:gd name="connsiteX73" fmla="*/ 26126 w 51323"/>
                <a:gd name="connsiteY73" fmla="*/ 14291 h 51323"/>
                <a:gd name="connsiteX74" fmla="*/ 26126 w 51323"/>
                <a:gd name="connsiteY74" fmla="*/ 14291 h 51323"/>
                <a:gd name="connsiteX75" fmla="*/ 26126 w 51323"/>
                <a:gd name="connsiteY75" fmla="*/ 14531 h 51323"/>
                <a:gd name="connsiteX76" fmla="*/ 26126 w 51323"/>
                <a:gd name="connsiteY76" fmla="*/ 14531 h 51323"/>
                <a:gd name="connsiteX77" fmla="*/ 26486 w 51323"/>
                <a:gd name="connsiteY77" fmla="*/ 14531 h 51323"/>
                <a:gd name="connsiteX78" fmla="*/ 26263 w 51323"/>
                <a:gd name="connsiteY78" fmla="*/ 14995 h 51323"/>
                <a:gd name="connsiteX79" fmla="*/ 26263 w 51323"/>
                <a:gd name="connsiteY79" fmla="*/ 14995 h 51323"/>
                <a:gd name="connsiteX80" fmla="*/ 26005 w 51323"/>
                <a:gd name="connsiteY80" fmla="*/ 14995 h 51323"/>
                <a:gd name="connsiteX81" fmla="*/ 26224 w 51323"/>
                <a:gd name="connsiteY81" fmla="*/ 15000 h 51323"/>
                <a:gd name="connsiteX82" fmla="*/ 26229 w 51323"/>
                <a:gd name="connsiteY82" fmla="*/ 14995 h 51323"/>
                <a:gd name="connsiteX83" fmla="*/ 26589 w 51323"/>
                <a:gd name="connsiteY83" fmla="*/ 15579 h 51323"/>
                <a:gd name="connsiteX84" fmla="*/ 26967 w 51323"/>
                <a:gd name="connsiteY84" fmla="*/ 15613 h 51323"/>
                <a:gd name="connsiteX85" fmla="*/ 18138 w 51323"/>
                <a:gd name="connsiteY85" fmla="*/ 47476 h 51323"/>
                <a:gd name="connsiteX86" fmla="*/ 18138 w 51323"/>
                <a:gd name="connsiteY86" fmla="*/ 47476 h 51323"/>
                <a:gd name="connsiteX87" fmla="*/ 18138 w 51323"/>
                <a:gd name="connsiteY87" fmla="*/ 47476 h 51323"/>
                <a:gd name="connsiteX88" fmla="*/ 18138 w 51323"/>
                <a:gd name="connsiteY88" fmla="*/ 47476 h 51323"/>
                <a:gd name="connsiteX89" fmla="*/ 18224 w 51323"/>
                <a:gd name="connsiteY89" fmla="*/ 47476 h 51323"/>
                <a:gd name="connsiteX90" fmla="*/ 18224 w 51323"/>
                <a:gd name="connsiteY90" fmla="*/ 47476 h 51323"/>
                <a:gd name="connsiteX91" fmla="*/ 17984 w 51323"/>
                <a:gd name="connsiteY91" fmla="*/ 47338 h 51323"/>
                <a:gd name="connsiteX92" fmla="*/ 17984 w 51323"/>
                <a:gd name="connsiteY92" fmla="*/ 47338 h 51323"/>
                <a:gd name="connsiteX93" fmla="*/ 17984 w 51323"/>
                <a:gd name="connsiteY93" fmla="*/ 47338 h 51323"/>
                <a:gd name="connsiteX94" fmla="*/ 18070 w 51323"/>
                <a:gd name="connsiteY94" fmla="*/ 47338 h 51323"/>
                <a:gd name="connsiteX95" fmla="*/ 18070 w 51323"/>
                <a:gd name="connsiteY95" fmla="*/ 47338 h 51323"/>
                <a:gd name="connsiteX96" fmla="*/ 18070 w 51323"/>
                <a:gd name="connsiteY96" fmla="*/ 47338 h 51323"/>
                <a:gd name="connsiteX97" fmla="*/ 17795 w 51323"/>
                <a:gd name="connsiteY97" fmla="*/ 47218 h 51323"/>
                <a:gd name="connsiteX98" fmla="*/ 17795 w 51323"/>
                <a:gd name="connsiteY98" fmla="*/ 47218 h 51323"/>
                <a:gd name="connsiteX99" fmla="*/ 17795 w 51323"/>
                <a:gd name="connsiteY99" fmla="*/ 47218 h 51323"/>
                <a:gd name="connsiteX100" fmla="*/ 17692 w 51323"/>
                <a:gd name="connsiteY100" fmla="*/ 47218 h 51323"/>
                <a:gd name="connsiteX101" fmla="*/ 17692 w 51323"/>
                <a:gd name="connsiteY101" fmla="*/ 47218 h 51323"/>
                <a:gd name="connsiteX102" fmla="*/ 17692 w 51323"/>
                <a:gd name="connsiteY102" fmla="*/ 47218 h 51323"/>
                <a:gd name="connsiteX103" fmla="*/ 17692 w 51323"/>
                <a:gd name="connsiteY103" fmla="*/ 47218 h 51323"/>
                <a:gd name="connsiteX104" fmla="*/ 17864 w 51323"/>
                <a:gd name="connsiteY104" fmla="*/ 47218 h 51323"/>
                <a:gd name="connsiteX105" fmla="*/ 17658 w 51323"/>
                <a:gd name="connsiteY105" fmla="*/ 47218 h 51323"/>
                <a:gd name="connsiteX106" fmla="*/ 17658 w 51323"/>
                <a:gd name="connsiteY106" fmla="*/ 47218 h 51323"/>
                <a:gd name="connsiteX107" fmla="*/ 17417 w 51323"/>
                <a:gd name="connsiteY107" fmla="*/ 47115 h 51323"/>
                <a:gd name="connsiteX108" fmla="*/ 17417 w 51323"/>
                <a:gd name="connsiteY108" fmla="*/ 47115 h 51323"/>
                <a:gd name="connsiteX109" fmla="*/ 17417 w 51323"/>
                <a:gd name="connsiteY109" fmla="*/ 47115 h 51323"/>
                <a:gd name="connsiteX110" fmla="*/ 17280 w 51323"/>
                <a:gd name="connsiteY110" fmla="*/ 47115 h 51323"/>
                <a:gd name="connsiteX111" fmla="*/ 17469 w 51323"/>
                <a:gd name="connsiteY111" fmla="*/ 47218 h 51323"/>
                <a:gd name="connsiteX112" fmla="*/ 17194 w 51323"/>
                <a:gd name="connsiteY112" fmla="*/ 47081 h 51323"/>
                <a:gd name="connsiteX113" fmla="*/ 17194 w 51323"/>
                <a:gd name="connsiteY113" fmla="*/ 47081 h 51323"/>
                <a:gd name="connsiteX114" fmla="*/ 17366 w 51323"/>
                <a:gd name="connsiteY114" fmla="*/ 47081 h 51323"/>
                <a:gd name="connsiteX115" fmla="*/ 17228 w 51323"/>
                <a:gd name="connsiteY115" fmla="*/ 47081 h 51323"/>
                <a:gd name="connsiteX116" fmla="*/ 17366 w 51323"/>
                <a:gd name="connsiteY116" fmla="*/ 47081 h 51323"/>
                <a:gd name="connsiteX117" fmla="*/ 17108 w 51323"/>
                <a:gd name="connsiteY117" fmla="*/ 46961 h 51323"/>
                <a:gd name="connsiteX118" fmla="*/ 17108 w 51323"/>
                <a:gd name="connsiteY118" fmla="*/ 46961 h 51323"/>
                <a:gd name="connsiteX119" fmla="*/ 17005 w 51323"/>
                <a:gd name="connsiteY119" fmla="*/ 46961 h 51323"/>
                <a:gd name="connsiteX120" fmla="*/ 17005 w 51323"/>
                <a:gd name="connsiteY120" fmla="*/ 46961 h 51323"/>
                <a:gd name="connsiteX121" fmla="*/ 16782 w 51323"/>
                <a:gd name="connsiteY121" fmla="*/ 46858 h 51323"/>
                <a:gd name="connsiteX122" fmla="*/ 16782 w 51323"/>
                <a:gd name="connsiteY122" fmla="*/ 46858 h 51323"/>
                <a:gd name="connsiteX123" fmla="*/ 16696 w 51323"/>
                <a:gd name="connsiteY123" fmla="*/ 46858 h 51323"/>
                <a:gd name="connsiteX124" fmla="*/ 16696 w 51323"/>
                <a:gd name="connsiteY124" fmla="*/ 46858 h 51323"/>
                <a:gd name="connsiteX125" fmla="*/ 16301 w 51323"/>
                <a:gd name="connsiteY125" fmla="*/ 46651 h 51323"/>
                <a:gd name="connsiteX126" fmla="*/ 16301 w 51323"/>
                <a:gd name="connsiteY126" fmla="*/ 46651 h 51323"/>
                <a:gd name="connsiteX127" fmla="*/ 16129 w 51323"/>
                <a:gd name="connsiteY127" fmla="*/ 46548 h 51323"/>
                <a:gd name="connsiteX128" fmla="*/ 16283 w 51323"/>
                <a:gd name="connsiteY128" fmla="*/ 46651 h 51323"/>
                <a:gd name="connsiteX129" fmla="*/ 15940 w 51323"/>
                <a:gd name="connsiteY129" fmla="*/ 46462 h 51323"/>
                <a:gd name="connsiteX130" fmla="*/ 15940 w 51323"/>
                <a:gd name="connsiteY130" fmla="*/ 46462 h 51323"/>
                <a:gd name="connsiteX131" fmla="*/ 15837 w 51323"/>
                <a:gd name="connsiteY131" fmla="*/ 46462 h 51323"/>
                <a:gd name="connsiteX132" fmla="*/ 15837 w 51323"/>
                <a:gd name="connsiteY132" fmla="*/ 46462 h 51323"/>
                <a:gd name="connsiteX133" fmla="*/ 15665 w 51323"/>
                <a:gd name="connsiteY133" fmla="*/ 46359 h 51323"/>
                <a:gd name="connsiteX134" fmla="*/ 15665 w 51323"/>
                <a:gd name="connsiteY134" fmla="*/ 46359 h 51323"/>
                <a:gd name="connsiteX135" fmla="*/ 15665 w 51323"/>
                <a:gd name="connsiteY135" fmla="*/ 46359 h 51323"/>
                <a:gd name="connsiteX136" fmla="*/ 15665 w 51323"/>
                <a:gd name="connsiteY136" fmla="*/ 46359 h 51323"/>
                <a:gd name="connsiteX137" fmla="*/ 15510 w 51323"/>
                <a:gd name="connsiteY137" fmla="*/ 46274 h 51323"/>
                <a:gd name="connsiteX138" fmla="*/ 15510 w 51323"/>
                <a:gd name="connsiteY138" fmla="*/ 46274 h 51323"/>
                <a:gd name="connsiteX139" fmla="*/ 15339 w 51323"/>
                <a:gd name="connsiteY139" fmla="*/ 46153 h 51323"/>
                <a:gd name="connsiteX140" fmla="*/ 15339 w 51323"/>
                <a:gd name="connsiteY140" fmla="*/ 46153 h 51323"/>
                <a:gd name="connsiteX141" fmla="*/ 15201 w 51323"/>
                <a:gd name="connsiteY141" fmla="*/ 46153 h 51323"/>
                <a:gd name="connsiteX142" fmla="*/ 15201 w 51323"/>
                <a:gd name="connsiteY142" fmla="*/ 46153 h 51323"/>
                <a:gd name="connsiteX143" fmla="*/ 15081 w 51323"/>
                <a:gd name="connsiteY143" fmla="*/ 46153 h 51323"/>
                <a:gd name="connsiteX144" fmla="*/ 15081 w 51323"/>
                <a:gd name="connsiteY144" fmla="*/ 46153 h 51323"/>
                <a:gd name="connsiteX145" fmla="*/ 15218 w 51323"/>
                <a:gd name="connsiteY145" fmla="*/ 46239 h 51323"/>
                <a:gd name="connsiteX146" fmla="*/ 15081 w 51323"/>
                <a:gd name="connsiteY146" fmla="*/ 46153 h 51323"/>
                <a:gd name="connsiteX147" fmla="*/ 15081 w 51323"/>
                <a:gd name="connsiteY147" fmla="*/ 46153 h 51323"/>
                <a:gd name="connsiteX148" fmla="*/ 14961 w 51323"/>
                <a:gd name="connsiteY148" fmla="*/ 46153 h 51323"/>
                <a:gd name="connsiteX149" fmla="*/ 14961 w 51323"/>
                <a:gd name="connsiteY149" fmla="*/ 46153 h 51323"/>
                <a:gd name="connsiteX150" fmla="*/ 14823 w 51323"/>
                <a:gd name="connsiteY150" fmla="*/ 46067 h 51323"/>
                <a:gd name="connsiteX151" fmla="*/ 15012 w 51323"/>
                <a:gd name="connsiteY151" fmla="*/ 46170 h 51323"/>
                <a:gd name="connsiteX152" fmla="*/ 15184 w 51323"/>
                <a:gd name="connsiteY152" fmla="*/ 46274 h 51323"/>
                <a:gd name="connsiteX153" fmla="*/ 14720 w 51323"/>
                <a:gd name="connsiteY153" fmla="*/ 45947 h 51323"/>
                <a:gd name="connsiteX154" fmla="*/ 14720 w 51323"/>
                <a:gd name="connsiteY154" fmla="*/ 45947 h 51323"/>
                <a:gd name="connsiteX155" fmla="*/ 13879 w 51323"/>
                <a:gd name="connsiteY155" fmla="*/ 45312 h 51323"/>
                <a:gd name="connsiteX156" fmla="*/ 13982 w 51323"/>
                <a:gd name="connsiteY156" fmla="*/ 45312 h 51323"/>
                <a:gd name="connsiteX157" fmla="*/ 13827 w 51323"/>
                <a:gd name="connsiteY157" fmla="*/ 45191 h 51323"/>
                <a:gd name="connsiteX158" fmla="*/ 13827 w 51323"/>
                <a:gd name="connsiteY158" fmla="*/ 45191 h 51323"/>
                <a:gd name="connsiteX159" fmla="*/ 13724 w 51323"/>
                <a:gd name="connsiteY159" fmla="*/ 45191 h 51323"/>
                <a:gd name="connsiteX160" fmla="*/ 13724 w 51323"/>
                <a:gd name="connsiteY160" fmla="*/ 45191 h 51323"/>
                <a:gd name="connsiteX161" fmla="*/ 13724 w 51323"/>
                <a:gd name="connsiteY161" fmla="*/ 45191 h 51323"/>
                <a:gd name="connsiteX162" fmla="*/ 13724 w 51323"/>
                <a:gd name="connsiteY162" fmla="*/ 45191 h 51323"/>
                <a:gd name="connsiteX163" fmla="*/ 13106 w 51323"/>
                <a:gd name="connsiteY163" fmla="*/ 44710 h 51323"/>
                <a:gd name="connsiteX164" fmla="*/ 13106 w 51323"/>
                <a:gd name="connsiteY164" fmla="*/ 44710 h 51323"/>
                <a:gd name="connsiteX165" fmla="*/ 12316 w 51323"/>
                <a:gd name="connsiteY165" fmla="*/ 44023 h 51323"/>
                <a:gd name="connsiteX166" fmla="*/ 12316 w 51323"/>
                <a:gd name="connsiteY166" fmla="*/ 44023 h 51323"/>
                <a:gd name="connsiteX167" fmla="*/ 9567 w 51323"/>
                <a:gd name="connsiteY167" fmla="*/ 40434 h 51323"/>
                <a:gd name="connsiteX168" fmla="*/ 9567 w 51323"/>
                <a:gd name="connsiteY168" fmla="*/ 40434 h 51323"/>
                <a:gd name="connsiteX169" fmla="*/ 8021 w 51323"/>
                <a:gd name="connsiteY169" fmla="*/ 37788 h 51323"/>
                <a:gd name="connsiteX170" fmla="*/ 8021 w 51323"/>
                <a:gd name="connsiteY170" fmla="*/ 37788 h 51323"/>
                <a:gd name="connsiteX171" fmla="*/ 5840 w 51323"/>
                <a:gd name="connsiteY171" fmla="*/ 33494 h 51323"/>
                <a:gd name="connsiteX172" fmla="*/ 5840 w 51323"/>
                <a:gd name="connsiteY172" fmla="*/ 33580 h 51323"/>
                <a:gd name="connsiteX173" fmla="*/ 5840 w 51323"/>
                <a:gd name="connsiteY173" fmla="*/ 33477 h 51323"/>
                <a:gd name="connsiteX174" fmla="*/ 5840 w 51323"/>
                <a:gd name="connsiteY174" fmla="*/ 33614 h 51323"/>
                <a:gd name="connsiteX175" fmla="*/ 5222 w 51323"/>
                <a:gd name="connsiteY175" fmla="*/ 30299 h 51323"/>
                <a:gd name="connsiteX176" fmla="*/ 5222 w 51323"/>
                <a:gd name="connsiteY176" fmla="*/ 30042 h 51323"/>
                <a:gd name="connsiteX177" fmla="*/ 5222 w 51323"/>
                <a:gd name="connsiteY177" fmla="*/ 30128 h 51323"/>
                <a:gd name="connsiteX178" fmla="*/ 5067 w 51323"/>
                <a:gd name="connsiteY178" fmla="*/ 29784 h 51323"/>
                <a:gd name="connsiteX179" fmla="*/ 5067 w 51323"/>
                <a:gd name="connsiteY179" fmla="*/ 29784 h 51323"/>
                <a:gd name="connsiteX180" fmla="*/ 5067 w 51323"/>
                <a:gd name="connsiteY180" fmla="*/ 29784 h 51323"/>
                <a:gd name="connsiteX181" fmla="*/ 5067 w 51323"/>
                <a:gd name="connsiteY181" fmla="*/ 29544 h 51323"/>
                <a:gd name="connsiteX182" fmla="*/ 5067 w 51323"/>
                <a:gd name="connsiteY182" fmla="*/ 29715 h 51323"/>
                <a:gd name="connsiteX183" fmla="*/ 4844 w 51323"/>
                <a:gd name="connsiteY183" fmla="*/ 28908 h 51323"/>
                <a:gd name="connsiteX184" fmla="*/ 4844 w 51323"/>
                <a:gd name="connsiteY184" fmla="*/ 29183 h 51323"/>
                <a:gd name="connsiteX185" fmla="*/ 4552 w 51323"/>
                <a:gd name="connsiteY185" fmla="*/ 27843 h 51323"/>
                <a:gd name="connsiteX186" fmla="*/ 4552 w 51323"/>
                <a:gd name="connsiteY186" fmla="*/ 27740 h 51323"/>
                <a:gd name="connsiteX187" fmla="*/ 4552 w 51323"/>
                <a:gd name="connsiteY187" fmla="*/ 27740 h 51323"/>
                <a:gd name="connsiteX188" fmla="*/ 4552 w 51323"/>
                <a:gd name="connsiteY188" fmla="*/ 27740 h 51323"/>
                <a:gd name="connsiteX189" fmla="*/ 4552 w 51323"/>
                <a:gd name="connsiteY189" fmla="*/ 27740 h 51323"/>
                <a:gd name="connsiteX190" fmla="*/ 4208 w 51323"/>
                <a:gd name="connsiteY190" fmla="*/ 26297 h 51323"/>
                <a:gd name="connsiteX191" fmla="*/ 4208 w 51323"/>
                <a:gd name="connsiteY191" fmla="*/ 26503 h 51323"/>
                <a:gd name="connsiteX192" fmla="*/ 4208 w 51323"/>
                <a:gd name="connsiteY192" fmla="*/ 26297 h 51323"/>
                <a:gd name="connsiteX193" fmla="*/ 4208 w 51323"/>
                <a:gd name="connsiteY193" fmla="*/ 26297 h 51323"/>
                <a:gd name="connsiteX194" fmla="*/ 4208 w 51323"/>
                <a:gd name="connsiteY194" fmla="*/ 26297 h 51323"/>
                <a:gd name="connsiteX195" fmla="*/ 4208 w 51323"/>
                <a:gd name="connsiteY195" fmla="*/ 26297 h 51323"/>
                <a:gd name="connsiteX196" fmla="*/ 4208 w 51323"/>
                <a:gd name="connsiteY196" fmla="*/ 26297 h 51323"/>
                <a:gd name="connsiteX197" fmla="*/ 4208 w 51323"/>
                <a:gd name="connsiteY197" fmla="*/ 26400 h 51323"/>
                <a:gd name="connsiteX198" fmla="*/ 4208 w 51323"/>
                <a:gd name="connsiteY198" fmla="*/ 26400 h 51323"/>
                <a:gd name="connsiteX199" fmla="*/ 4208 w 51323"/>
                <a:gd name="connsiteY199" fmla="*/ 26400 h 51323"/>
                <a:gd name="connsiteX200" fmla="*/ 4208 w 51323"/>
                <a:gd name="connsiteY200" fmla="*/ 26400 h 51323"/>
                <a:gd name="connsiteX201" fmla="*/ 4208 w 51323"/>
                <a:gd name="connsiteY201" fmla="*/ 26091 h 51323"/>
                <a:gd name="connsiteX202" fmla="*/ 4208 w 51323"/>
                <a:gd name="connsiteY202" fmla="*/ 26091 h 51323"/>
                <a:gd name="connsiteX203" fmla="*/ 4208 w 51323"/>
                <a:gd name="connsiteY203" fmla="*/ 25919 h 51323"/>
                <a:gd name="connsiteX204" fmla="*/ 4208 w 51323"/>
                <a:gd name="connsiteY204" fmla="*/ 25919 h 51323"/>
                <a:gd name="connsiteX205" fmla="*/ 4208 w 51323"/>
                <a:gd name="connsiteY205" fmla="*/ 25198 h 51323"/>
                <a:gd name="connsiteX206" fmla="*/ 4208 w 51323"/>
                <a:gd name="connsiteY206" fmla="*/ 25198 h 51323"/>
                <a:gd name="connsiteX207" fmla="*/ 4208 w 51323"/>
                <a:gd name="connsiteY207" fmla="*/ 25078 h 51323"/>
                <a:gd name="connsiteX208" fmla="*/ 4208 w 51323"/>
                <a:gd name="connsiteY208" fmla="*/ 25078 h 51323"/>
                <a:gd name="connsiteX209" fmla="*/ 19787 w 51323"/>
                <a:gd name="connsiteY209" fmla="*/ 4706 h 51323"/>
                <a:gd name="connsiteX210" fmla="*/ 19787 w 51323"/>
                <a:gd name="connsiteY210" fmla="*/ 4706 h 51323"/>
                <a:gd name="connsiteX211" fmla="*/ 19994 w 51323"/>
                <a:gd name="connsiteY211" fmla="*/ 4706 h 51323"/>
                <a:gd name="connsiteX212" fmla="*/ 19994 w 51323"/>
                <a:gd name="connsiteY212" fmla="*/ 4706 h 51323"/>
                <a:gd name="connsiteX213" fmla="*/ 20217 w 51323"/>
                <a:gd name="connsiteY213" fmla="*/ 4706 h 51323"/>
                <a:gd name="connsiteX214" fmla="*/ 20062 w 51323"/>
                <a:gd name="connsiteY214" fmla="*/ 4706 h 51323"/>
                <a:gd name="connsiteX215" fmla="*/ 20337 w 51323"/>
                <a:gd name="connsiteY215" fmla="*/ 4706 h 51323"/>
                <a:gd name="connsiteX216" fmla="*/ 20234 w 51323"/>
                <a:gd name="connsiteY216" fmla="*/ 4706 h 51323"/>
                <a:gd name="connsiteX217" fmla="*/ 20234 w 51323"/>
                <a:gd name="connsiteY217" fmla="*/ 4706 h 51323"/>
                <a:gd name="connsiteX218" fmla="*/ 20423 w 51323"/>
                <a:gd name="connsiteY218" fmla="*/ 4706 h 51323"/>
                <a:gd name="connsiteX219" fmla="*/ 20423 w 51323"/>
                <a:gd name="connsiteY219" fmla="*/ 4706 h 51323"/>
                <a:gd name="connsiteX220" fmla="*/ 21711 w 51323"/>
                <a:gd name="connsiteY220" fmla="*/ 4414 h 51323"/>
                <a:gd name="connsiteX221" fmla="*/ 21711 w 51323"/>
                <a:gd name="connsiteY221" fmla="*/ 4414 h 51323"/>
                <a:gd name="connsiteX222" fmla="*/ 22038 w 51323"/>
                <a:gd name="connsiteY222" fmla="*/ 4414 h 51323"/>
                <a:gd name="connsiteX223" fmla="*/ 21814 w 51323"/>
                <a:gd name="connsiteY223" fmla="*/ 4414 h 51323"/>
                <a:gd name="connsiteX224" fmla="*/ 21814 w 51323"/>
                <a:gd name="connsiteY224" fmla="*/ 4414 h 51323"/>
                <a:gd name="connsiteX225" fmla="*/ 22415 w 51323"/>
                <a:gd name="connsiteY225" fmla="*/ 4414 h 51323"/>
                <a:gd name="connsiteX226" fmla="*/ 22415 w 51323"/>
                <a:gd name="connsiteY226" fmla="*/ 4414 h 51323"/>
                <a:gd name="connsiteX227" fmla="*/ 22106 w 51323"/>
                <a:gd name="connsiteY227" fmla="*/ 4414 h 51323"/>
                <a:gd name="connsiteX228" fmla="*/ 22398 w 51323"/>
                <a:gd name="connsiteY228" fmla="*/ 4414 h 51323"/>
                <a:gd name="connsiteX229" fmla="*/ 22398 w 51323"/>
                <a:gd name="connsiteY229" fmla="*/ 4414 h 51323"/>
                <a:gd name="connsiteX230" fmla="*/ 22690 w 51323"/>
                <a:gd name="connsiteY230" fmla="*/ 4414 h 51323"/>
                <a:gd name="connsiteX231" fmla="*/ 22587 w 51323"/>
                <a:gd name="connsiteY231" fmla="*/ 4414 h 51323"/>
                <a:gd name="connsiteX232" fmla="*/ 22484 w 51323"/>
                <a:gd name="connsiteY232" fmla="*/ 4414 h 51323"/>
                <a:gd name="connsiteX233" fmla="*/ 22725 w 51323"/>
                <a:gd name="connsiteY233" fmla="*/ 4414 h 51323"/>
                <a:gd name="connsiteX234" fmla="*/ 22347 w 51323"/>
                <a:gd name="connsiteY234" fmla="*/ 4414 h 51323"/>
                <a:gd name="connsiteX235" fmla="*/ 22244 w 51323"/>
                <a:gd name="connsiteY235" fmla="*/ 4414 h 51323"/>
                <a:gd name="connsiteX236" fmla="*/ 22055 w 51323"/>
                <a:gd name="connsiteY236" fmla="*/ 4414 h 51323"/>
                <a:gd name="connsiteX237" fmla="*/ 22415 w 51323"/>
                <a:gd name="connsiteY237" fmla="*/ 4414 h 51323"/>
                <a:gd name="connsiteX238" fmla="*/ 22020 w 51323"/>
                <a:gd name="connsiteY238" fmla="*/ 4414 h 51323"/>
                <a:gd name="connsiteX239" fmla="*/ 22020 w 51323"/>
                <a:gd name="connsiteY239" fmla="*/ 4414 h 51323"/>
                <a:gd name="connsiteX240" fmla="*/ 21608 w 51323"/>
                <a:gd name="connsiteY240" fmla="*/ 4414 h 51323"/>
                <a:gd name="connsiteX241" fmla="*/ 21608 w 51323"/>
                <a:gd name="connsiteY241" fmla="*/ 4414 h 51323"/>
                <a:gd name="connsiteX242" fmla="*/ 21213 w 51323"/>
                <a:gd name="connsiteY242" fmla="*/ 4500 h 51323"/>
                <a:gd name="connsiteX243" fmla="*/ 21385 w 51323"/>
                <a:gd name="connsiteY243" fmla="*/ 4500 h 51323"/>
                <a:gd name="connsiteX244" fmla="*/ 21385 w 51323"/>
                <a:gd name="connsiteY244" fmla="*/ 4500 h 51323"/>
                <a:gd name="connsiteX245" fmla="*/ 20973 w 51323"/>
                <a:gd name="connsiteY245" fmla="*/ 4586 h 51323"/>
                <a:gd name="connsiteX246" fmla="*/ 21144 w 51323"/>
                <a:gd name="connsiteY246" fmla="*/ 4586 h 51323"/>
                <a:gd name="connsiteX247" fmla="*/ 20955 w 51323"/>
                <a:gd name="connsiteY247" fmla="*/ 4586 h 51323"/>
                <a:gd name="connsiteX248" fmla="*/ 20955 w 51323"/>
                <a:gd name="connsiteY248" fmla="*/ 4586 h 51323"/>
                <a:gd name="connsiteX249" fmla="*/ 20835 w 51323"/>
                <a:gd name="connsiteY249" fmla="*/ 4586 h 51323"/>
                <a:gd name="connsiteX250" fmla="*/ 20835 w 51323"/>
                <a:gd name="connsiteY250" fmla="*/ 4586 h 51323"/>
                <a:gd name="connsiteX251" fmla="*/ 20835 w 51323"/>
                <a:gd name="connsiteY251" fmla="*/ 4586 h 51323"/>
                <a:gd name="connsiteX252" fmla="*/ 20835 w 51323"/>
                <a:gd name="connsiteY252" fmla="*/ 4586 h 51323"/>
                <a:gd name="connsiteX253" fmla="*/ 20835 w 51323"/>
                <a:gd name="connsiteY253" fmla="*/ 4586 h 51323"/>
                <a:gd name="connsiteX254" fmla="*/ 20663 w 51323"/>
                <a:gd name="connsiteY254" fmla="*/ 4586 h 51323"/>
                <a:gd name="connsiteX255" fmla="*/ 20663 w 51323"/>
                <a:gd name="connsiteY255" fmla="*/ 4586 h 51323"/>
                <a:gd name="connsiteX256" fmla="*/ 20663 w 51323"/>
                <a:gd name="connsiteY256" fmla="*/ 4586 h 51323"/>
                <a:gd name="connsiteX257" fmla="*/ 20663 w 51323"/>
                <a:gd name="connsiteY257" fmla="*/ 4586 h 51323"/>
                <a:gd name="connsiteX258" fmla="*/ 20560 w 51323"/>
                <a:gd name="connsiteY258" fmla="*/ 4586 h 51323"/>
                <a:gd name="connsiteX259" fmla="*/ 20560 w 51323"/>
                <a:gd name="connsiteY259" fmla="*/ 4586 h 51323"/>
                <a:gd name="connsiteX260" fmla="*/ 20114 w 51323"/>
                <a:gd name="connsiteY260" fmla="*/ 4706 h 51323"/>
                <a:gd name="connsiteX261" fmla="*/ 20114 w 51323"/>
                <a:gd name="connsiteY261" fmla="*/ 4706 h 51323"/>
                <a:gd name="connsiteX262" fmla="*/ 19787 w 51323"/>
                <a:gd name="connsiteY262" fmla="*/ 4827 h 51323"/>
                <a:gd name="connsiteX263" fmla="*/ 19787 w 51323"/>
                <a:gd name="connsiteY263" fmla="*/ 4827 h 51323"/>
                <a:gd name="connsiteX264" fmla="*/ 19392 w 51323"/>
                <a:gd name="connsiteY264" fmla="*/ 4947 h 51323"/>
                <a:gd name="connsiteX265" fmla="*/ 19392 w 51323"/>
                <a:gd name="connsiteY265" fmla="*/ 4947 h 51323"/>
                <a:gd name="connsiteX266" fmla="*/ 19100 w 51323"/>
                <a:gd name="connsiteY266" fmla="*/ 5153 h 51323"/>
                <a:gd name="connsiteX267" fmla="*/ 19100 w 51323"/>
                <a:gd name="connsiteY267" fmla="*/ 5153 h 51323"/>
                <a:gd name="connsiteX268" fmla="*/ 18997 w 51323"/>
                <a:gd name="connsiteY268" fmla="*/ 5153 h 51323"/>
                <a:gd name="connsiteX269" fmla="*/ 18997 w 51323"/>
                <a:gd name="connsiteY269" fmla="*/ 5153 h 51323"/>
                <a:gd name="connsiteX270" fmla="*/ 18430 w 51323"/>
                <a:gd name="connsiteY270" fmla="*/ 5359 h 51323"/>
                <a:gd name="connsiteX271" fmla="*/ 18568 w 51323"/>
                <a:gd name="connsiteY271" fmla="*/ 5359 h 51323"/>
                <a:gd name="connsiteX272" fmla="*/ 18568 w 51323"/>
                <a:gd name="connsiteY272" fmla="*/ 5359 h 51323"/>
                <a:gd name="connsiteX273" fmla="*/ 19169 w 51323"/>
                <a:gd name="connsiteY273" fmla="*/ 5187 h 51323"/>
                <a:gd name="connsiteX274" fmla="*/ 19169 w 51323"/>
                <a:gd name="connsiteY274" fmla="*/ 5187 h 51323"/>
                <a:gd name="connsiteX275" fmla="*/ 19341 w 51323"/>
                <a:gd name="connsiteY275" fmla="*/ 5187 h 51323"/>
                <a:gd name="connsiteX276" fmla="*/ 19461 w 51323"/>
                <a:gd name="connsiteY276" fmla="*/ 5187 h 51323"/>
                <a:gd name="connsiteX277" fmla="*/ 19186 w 51323"/>
                <a:gd name="connsiteY277" fmla="*/ 5187 h 51323"/>
                <a:gd name="connsiteX278" fmla="*/ 19186 w 51323"/>
                <a:gd name="connsiteY278" fmla="*/ 5187 h 51323"/>
                <a:gd name="connsiteX279" fmla="*/ 19032 w 51323"/>
                <a:gd name="connsiteY279" fmla="*/ 5187 h 51323"/>
                <a:gd name="connsiteX280" fmla="*/ 19032 w 51323"/>
                <a:gd name="connsiteY280" fmla="*/ 5187 h 51323"/>
                <a:gd name="connsiteX281" fmla="*/ 18911 w 51323"/>
                <a:gd name="connsiteY281" fmla="*/ 5187 h 51323"/>
                <a:gd name="connsiteX282" fmla="*/ 18911 w 51323"/>
                <a:gd name="connsiteY282" fmla="*/ 5187 h 51323"/>
                <a:gd name="connsiteX283" fmla="*/ 18740 w 51323"/>
                <a:gd name="connsiteY283" fmla="*/ 5187 h 51323"/>
                <a:gd name="connsiteX284" fmla="*/ 18740 w 51323"/>
                <a:gd name="connsiteY284" fmla="*/ 5187 h 51323"/>
                <a:gd name="connsiteX285" fmla="*/ 18894 w 51323"/>
                <a:gd name="connsiteY285" fmla="*/ 5187 h 51323"/>
                <a:gd name="connsiteX286" fmla="*/ 18894 w 51323"/>
                <a:gd name="connsiteY286" fmla="*/ 5187 h 51323"/>
                <a:gd name="connsiteX287" fmla="*/ 19049 w 51323"/>
                <a:gd name="connsiteY287" fmla="*/ 5187 h 51323"/>
                <a:gd name="connsiteX288" fmla="*/ 19049 w 51323"/>
                <a:gd name="connsiteY288" fmla="*/ 5187 h 51323"/>
                <a:gd name="connsiteX289" fmla="*/ 18860 w 51323"/>
                <a:gd name="connsiteY289" fmla="*/ 5187 h 51323"/>
                <a:gd name="connsiteX290" fmla="*/ 19032 w 51323"/>
                <a:gd name="connsiteY290" fmla="*/ 5187 h 51323"/>
                <a:gd name="connsiteX291" fmla="*/ 19186 w 51323"/>
                <a:gd name="connsiteY291" fmla="*/ 5187 h 51323"/>
                <a:gd name="connsiteX292" fmla="*/ 19289 w 51323"/>
                <a:gd name="connsiteY292" fmla="*/ 5187 h 51323"/>
                <a:gd name="connsiteX293" fmla="*/ 19650 w 51323"/>
                <a:gd name="connsiteY293" fmla="*/ 5084 h 51323"/>
                <a:gd name="connsiteX294" fmla="*/ 18482 w 51323"/>
                <a:gd name="connsiteY294" fmla="*/ 5497 h 51323"/>
                <a:gd name="connsiteX295" fmla="*/ 18654 w 51323"/>
                <a:gd name="connsiteY295" fmla="*/ 5497 h 51323"/>
                <a:gd name="connsiteX296" fmla="*/ 18654 w 51323"/>
                <a:gd name="connsiteY296" fmla="*/ 5497 h 51323"/>
                <a:gd name="connsiteX297" fmla="*/ 18740 w 51323"/>
                <a:gd name="connsiteY297" fmla="*/ 5497 h 51323"/>
                <a:gd name="connsiteX298" fmla="*/ 18894 w 51323"/>
                <a:gd name="connsiteY298" fmla="*/ 5497 h 51323"/>
                <a:gd name="connsiteX299" fmla="*/ 18894 w 51323"/>
                <a:gd name="connsiteY299" fmla="*/ 5497 h 51323"/>
                <a:gd name="connsiteX300" fmla="*/ 19032 w 51323"/>
                <a:gd name="connsiteY300" fmla="*/ 5497 h 51323"/>
                <a:gd name="connsiteX301" fmla="*/ 18722 w 51323"/>
                <a:gd name="connsiteY301" fmla="*/ 5617 h 51323"/>
                <a:gd name="connsiteX302" fmla="*/ 18722 w 51323"/>
                <a:gd name="connsiteY302" fmla="*/ 5617 h 51323"/>
                <a:gd name="connsiteX303" fmla="*/ 18585 w 51323"/>
                <a:gd name="connsiteY303" fmla="*/ 5617 h 51323"/>
                <a:gd name="connsiteX304" fmla="*/ 18585 w 51323"/>
                <a:gd name="connsiteY304" fmla="*/ 5617 h 51323"/>
                <a:gd name="connsiteX305" fmla="*/ 18413 w 51323"/>
                <a:gd name="connsiteY305" fmla="*/ 5617 h 51323"/>
                <a:gd name="connsiteX306" fmla="*/ 18688 w 51323"/>
                <a:gd name="connsiteY306" fmla="*/ 5617 h 51323"/>
                <a:gd name="connsiteX307" fmla="*/ 17743 w 51323"/>
                <a:gd name="connsiteY307" fmla="*/ 6098 h 51323"/>
                <a:gd name="connsiteX308" fmla="*/ 17743 w 51323"/>
                <a:gd name="connsiteY308" fmla="*/ 6098 h 51323"/>
                <a:gd name="connsiteX309" fmla="*/ 17554 w 51323"/>
                <a:gd name="connsiteY309" fmla="*/ 6201 h 51323"/>
                <a:gd name="connsiteX310" fmla="*/ 17743 w 51323"/>
                <a:gd name="connsiteY310" fmla="*/ 6201 h 51323"/>
                <a:gd name="connsiteX311" fmla="*/ 17743 w 51323"/>
                <a:gd name="connsiteY311" fmla="*/ 6201 h 51323"/>
                <a:gd name="connsiteX312" fmla="*/ 17743 w 51323"/>
                <a:gd name="connsiteY312" fmla="*/ 6201 h 51323"/>
                <a:gd name="connsiteX313" fmla="*/ 17159 w 51323"/>
                <a:gd name="connsiteY313" fmla="*/ 6476 h 51323"/>
                <a:gd name="connsiteX314" fmla="*/ 17159 w 51323"/>
                <a:gd name="connsiteY314" fmla="*/ 6476 h 51323"/>
                <a:gd name="connsiteX315" fmla="*/ 17039 w 51323"/>
                <a:gd name="connsiteY315" fmla="*/ 6476 h 51323"/>
                <a:gd name="connsiteX316" fmla="*/ 17039 w 51323"/>
                <a:gd name="connsiteY316" fmla="*/ 6476 h 51323"/>
                <a:gd name="connsiteX317" fmla="*/ 16867 w 51323"/>
                <a:gd name="connsiteY317" fmla="*/ 6579 h 51323"/>
                <a:gd name="connsiteX318" fmla="*/ 16867 w 51323"/>
                <a:gd name="connsiteY318" fmla="*/ 6579 h 51323"/>
                <a:gd name="connsiteX319" fmla="*/ 16730 w 51323"/>
                <a:gd name="connsiteY319" fmla="*/ 6716 h 51323"/>
                <a:gd name="connsiteX320" fmla="*/ 16730 w 51323"/>
                <a:gd name="connsiteY320" fmla="*/ 6716 h 51323"/>
                <a:gd name="connsiteX321" fmla="*/ 16730 w 51323"/>
                <a:gd name="connsiteY321" fmla="*/ 6716 h 51323"/>
                <a:gd name="connsiteX322" fmla="*/ 16730 w 51323"/>
                <a:gd name="connsiteY322" fmla="*/ 6716 h 51323"/>
                <a:gd name="connsiteX323" fmla="*/ 16730 w 51323"/>
                <a:gd name="connsiteY323" fmla="*/ 6716 h 51323"/>
                <a:gd name="connsiteX324" fmla="*/ 16885 w 51323"/>
                <a:gd name="connsiteY324" fmla="*/ 6716 h 51323"/>
                <a:gd name="connsiteX325" fmla="*/ 16627 w 51323"/>
                <a:gd name="connsiteY325" fmla="*/ 6853 h 51323"/>
                <a:gd name="connsiteX326" fmla="*/ 16627 w 51323"/>
                <a:gd name="connsiteY326" fmla="*/ 6853 h 51323"/>
                <a:gd name="connsiteX327" fmla="*/ 16386 w 51323"/>
                <a:gd name="connsiteY327" fmla="*/ 6991 h 51323"/>
                <a:gd name="connsiteX328" fmla="*/ 16558 w 51323"/>
                <a:gd name="connsiteY328" fmla="*/ 6991 h 51323"/>
                <a:gd name="connsiteX329" fmla="*/ 16077 w 51323"/>
                <a:gd name="connsiteY329" fmla="*/ 7266 h 51323"/>
                <a:gd name="connsiteX330" fmla="*/ 16077 w 51323"/>
                <a:gd name="connsiteY330" fmla="*/ 7266 h 51323"/>
                <a:gd name="connsiteX331" fmla="*/ 16077 w 51323"/>
                <a:gd name="connsiteY331" fmla="*/ 7266 h 51323"/>
                <a:gd name="connsiteX332" fmla="*/ 16833 w 51323"/>
                <a:gd name="connsiteY332" fmla="*/ 6888 h 51323"/>
                <a:gd name="connsiteX333" fmla="*/ 16833 w 51323"/>
                <a:gd name="connsiteY333" fmla="*/ 6888 h 51323"/>
                <a:gd name="connsiteX334" fmla="*/ 16833 w 51323"/>
                <a:gd name="connsiteY334" fmla="*/ 6888 h 51323"/>
                <a:gd name="connsiteX335" fmla="*/ 16833 w 51323"/>
                <a:gd name="connsiteY335" fmla="*/ 6888 h 51323"/>
                <a:gd name="connsiteX336" fmla="*/ 16936 w 51323"/>
                <a:gd name="connsiteY336" fmla="*/ 6888 h 51323"/>
                <a:gd name="connsiteX337" fmla="*/ 16833 w 51323"/>
                <a:gd name="connsiteY337" fmla="*/ 6888 h 51323"/>
                <a:gd name="connsiteX338" fmla="*/ 17056 w 51323"/>
                <a:gd name="connsiteY338" fmla="*/ 6785 h 51323"/>
                <a:gd name="connsiteX339" fmla="*/ 17056 w 51323"/>
                <a:gd name="connsiteY339" fmla="*/ 6785 h 51323"/>
                <a:gd name="connsiteX340" fmla="*/ 17159 w 51323"/>
                <a:gd name="connsiteY340" fmla="*/ 6785 h 51323"/>
                <a:gd name="connsiteX341" fmla="*/ 17039 w 51323"/>
                <a:gd name="connsiteY341" fmla="*/ 6785 h 51323"/>
                <a:gd name="connsiteX342" fmla="*/ 17142 w 51323"/>
                <a:gd name="connsiteY342" fmla="*/ 6785 h 51323"/>
                <a:gd name="connsiteX343" fmla="*/ 17022 w 51323"/>
                <a:gd name="connsiteY343" fmla="*/ 6785 h 51323"/>
                <a:gd name="connsiteX344" fmla="*/ 17022 w 51323"/>
                <a:gd name="connsiteY344" fmla="*/ 6785 h 51323"/>
                <a:gd name="connsiteX345" fmla="*/ 16885 w 51323"/>
                <a:gd name="connsiteY345" fmla="*/ 6785 h 51323"/>
                <a:gd name="connsiteX346" fmla="*/ 17005 w 51323"/>
                <a:gd name="connsiteY346" fmla="*/ 6785 h 51323"/>
                <a:gd name="connsiteX347" fmla="*/ 17314 w 51323"/>
                <a:gd name="connsiteY347" fmla="*/ 6785 h 51323"/>
                <a:gd name="connsiteX348" fmla="*/ 17314 w 51323"/>
                <a:gd name="connsiteY348" fmla="*/ 6785 h 51323"/>
                <a:gd name="connsiteX349" fmla="*/ 16696 w 51323"/>
                <a:gd name="connsiteY349" fmla="*/ 7145 h 51323"/>
                <a:gd name="connsiteX350" fmla="*/ 16696 w 51323"/>
                <a:gd name="connsiteY350" fmla="*/ 7145 h 51323"/>
                <a:gd name="connsiteX351" fmla="*/ 16696 w 51323"/>
                <a:gd name="connsiteY351" fmla="*/ 7145 h 51323"/>
                <a:gd name="connsiteX352" fmla="*/ 16696 w 51323"/>
                <a:gd name="connsiteY352" fmla="*/ 7145 h 51323"/>
                <a:gd name="connsiteX353" fmla="*/ 16696 w 51323"/>
                <a:gd name="connsiteY353" fmla="*/ 7145 h 51323"/>
                <a:gd name="connsiteX354" fmla="*/ 16696 w 51323"/>
                <a:gd name="connsiteY354" fmla="*/ 7145 h 51323"/>
                <a:gd name="connsiteX355" fmla="*/ 16696 w 51323"/>
                <a:gd name="connsiteY355" fmla="*/ 7145 h 51323"/>
                <a:gd name="connsiteX356" fmla="*/ 16455 w 51323"/>
                <a:gd name="connsiteY356" fmla="*/ 7300 h 51323"/>
                <a:gd name="connsiteX357" fmla="*/ 16455 w 51323"/>
                <a:gd name="connsiteY357" fmla="*/ 7300 h 51323"/>
                <a:gd name="connsiteX358" fmla="*/ 16455 w 51323"/>
                <a:gd name="connsiteY358" fmla="*/ 7386 h 51323"/>
                <a:gd name="connsiteX359" fmla="*/ 16610 w 51323"/>
                <a:gd name="connsiteY359" fmla="*/ 7386 h 51323"/>
                <a:gd name="connsiteX360" fmla="*/ 16610 w 51323"/>
                <a:gd name="connsiteY360" fmla="*/ 7386 h 51323"/>
                <a:gd name="connsiteX361" fmla="*/ 16610 w 51323"/>
                <a:gd name="connsiteY361" fmla="*/ 7489 h 51323"/>
                <a:gd name="connsiteX362" fmla="*/ 16610 w 51323"/>
                <a:gd name="connsiteY362" fmla="*/ 7489 h 51323"/>
                <a:gd name="connsiteX363" fmla="*/ 16610 w 51323"/>
                <a:gd name="connsiteY363" fmla="*/ 7489 h 51323"/>
                <a:gd name="connsiteX364" fmla="*/ 16610 w 51323"/>
                <a:gd name="connsiteY364" fmla="*/ 7592 h 51323"/>
                <a:gd name="connsiteX365" fmla="*/ 16970 w 51323"/>
                <a:gd name="connsiteY365" fmla="*/ 7334 h 51323"/>
                <a:gd name="connsiteX366" fmla="*/ 16970 w 51323"/>
                <a:gd name="connsiteY366" fmla="*/ 7334 h 51323"/>
                <a:gd name="connsiteX367" fmla="*/ 17108 w 51323"/>
                <a:gd name="connsiteY367" fmla="*/ 7334 h 51323"/>
                <a:gd name="connsiteX368" fmla="*/ 17245 w 51323"/>
                <a:gd name="connsiteY368" fmla="*/ 7334 h 51323"/>
                <a:gd name="connsiteX369" fmla="*/ 17142 w 51323"/>
                <a:gd name="connsiteY369" fmla="*/ 7334 h 51323"/>
                <a:gd name="connsiteX370" fmla="*/ 17142 w 51323"/>
                <a:gd name="connsiteY370" fmla="*/ 7334 h 51323"/>
                <a:gd name="connsiteX371" fmla="*/ 16988 w 51323"/>
                <a:gd name="connsiteY371" fmla="*/ 7437 h 51323"/>
                <a:gd name="connsiteX372" fmla="*/ 16988 w 51323"/>
                <a:gd name="connsiteY372" fmla="*/ 7437 h 51323"/>
                <a:gd name="connsiteX373" fmla="*/ 16867 w 51323"/>
                <a:gd name="connsiteY373" fmla="*/ 7437 h 51323"/>
                <a:gd name="connsiteX374" fmla="*/ 16610 w 51323"/>
                <a:gd name="connsiteY374" fmla="*/ 7575 h 51323"/>
                <a:gd name="connsiteX375" fmla="*/ 16610 w 51323"/>
                <a:gd name="connsiteY375" fmla="*/ 7575 h 51323"/>
                <a:gd name="connsiteX376" fmla="*/ 16421 w 51323"/>
                <a:gd name="connsiteY376" fmla="*/ 7678 h 51323"/>
                <a:gd name="connsiteX377" fmla="*/ 16421 w 51323"/>
                <a:gd name="connsiteY377" fmla="*/ 7678 h 51323"/>
                <a:gd name="connsiteX378" fmla="*/ 16283 w 51323"/>
                <a:gd name="connsiteY378" fmla="*/ 7678 h 51323"/>
                <a:gd name="connsiteX379" fmla="*/ 16283 w 51323"/>
                <a:gd name="connsiteY379" fmla="*/ 7678 h 51323"/>
                <a:gd name="connsiteX380" fmla="*/ 16283 w 51323"/>
                <a:gd name="connsiteY380" fmla="*/ 7678 h 51323"/>
                <a:gd name="connsiteX381" fmla="*/ 16129 w 51323"/>
                <a:gd name="connsiteY381" fmla="*/ 7678 h 51323"/>
                <a:gd name="connsiteX382" fmla="*/ 16129 w 51323"/>
                <a:gd name="connsiteY382" fmla="*/ 7678 h 51323"/>
                <a:gd name="connsiteX383" fmla="*/ 16129 w 51323"/>
                <a:gd name="connsiteY383" fmla="*/ 7678 h 51323"/>
                <a:gd name="connsiteX384" fmla="*/ 16129 w 51323"/>
                <a:gd name="connsiteY384" fmla="*/ 7678 h 51323"/>
                <a:gd name="connsiteX385" fmla="*/ 15820 w 51323"/>
                <a:gd name="connsiteY385" fmla="*/ 7867 h 51323"/>
                <a:gd name="connsiteX386" fmla="*/ 16043 w 51323"/>
                <a:gd name="connsiteY386" fmla="*/ 7747 h 51323"/>
                <a:gd name="connsiteX387" fmla="*/ 16043 w 51323"/>
                <a:gd name="connsiteY387" fmla="*/ 7747 h 51323"/>
                <a:gd name="connsiteX388" fmla="*/ 16318 w 51323"/>
                <a:gd name="connsiteY388" fmla="*/ 7644 h 51323"/>
                <a:gd name="connsiteX389" fmla="*/ 16198 w 51323"/>
                <a:gd name="connsiteY389" fmla="*/ 7644 h 51323"/>
                <a:gd name="connsiteX390" fmla="*/ 16747 w 51323"/>
                <a:gd name="connsiteY390" fmla="*/ 7352 h 51323"/>
                <a:gd name="connsiteX391" fmla="*/ 16747 w 51323"/>
                <a:gd name="connsiteY391" fmla="*/ 7352 h 51323"/>
                <a:gd name="connsiteX392" fmla="*/ 16747 w 51323"/>
                <a:gd name="connsiteY392" fmla="*/ 7352 h 51323"/>
                <a:gd name="connsiteX393" fmla="*/ 17400 w 51323"/>
                <a:gd name="connsiteY393" fmla="*/ 7077 h 51323"/>
                <a:gd name="connsiteX394" fmla="*/ 17262 w 51323"/>
                <a:gd name="connsiteY394" fmla="*/ 7077 h 51323"/>
                <a:gd name="connsiteX395" fmla="*/ 17262 w 51323"/>
                <a:gd name="connsiteY395" fmla="*/ 7077 h 51323"/>
                <a:gd name="connsiteX396" fmla="*/ 17520 w 51323"/>
                <a:gd name="connsiteY396" fmla="*/ 6991 h 51323"/>
                <a:gd name="connsiteX397" fmla="*/ 17846 w 51323"/>
                <a:gd name="connsiteY397" fmla="*/ 6768 h 51323"/>
                <a:gd name="connsiteX398" fmla="*/ 17846 w 51323"/>
                <a:gd name="connsiteY398" fmla="*/ 6768 h 51323"/>
                <a:gd name="connsiteX399" fmla="*/ 17846 w 51323"/>
                <a:gd name="connsiteY399" fmla="*/ 6768 h 51323"/>
                <a:gd name="connsiteX400" fmla="*/ 18482 w 51323"/>
                <a:gd name="connsiteY400" fmla="*/ 6476 h 51323"/>
                <a:gd name="connsiteX401" fmla="*/ 18482 w 51323"/>
                <a:gd name="connsiteY401" fmla="*/ 6476 h 51323"/>
                <a:gd name="connsiteX402" fmla="*/ 19066 w 51323"/>
                <a:gd name="connsiteY402" fmla="*/ 6235 h 51323"/>
                <a:gd name="connsiteX403" fmla="*/ 18911 w 51323"/>
                <a:gd name="connsiteY403" fmla="*/ 6321 h 51323"/>
                <a:gd name="connsiteX404" fmla="*/ 19427 w 51323"/>
                <a:gd name="connsiteY404" fmla="*/ 6115 h 51323"/>
                <a:gd name="connsiteX405" fmla="*/ 19238 w 51323"/>
                <a:gd name="connsiteY405" fmla="*/ 6252 h 51323"/>
                <a:gd name="connsiteX406" fmla="*/ 20303 w 51323"/>
                <a:gd name="connsiteY406" fmla="*/ 5909 h 51323"/>
                <a:gd name="connsiteX407" fmla="*/ 21024 w 51323"/>
                <a:gd name="connsiteY407" fmla="*/ 5651 h 51323"/>
                <a:gd name="connsiteX408" fmla="*/ 20303 w 51323"/>
                <a:gd name="connsiteY408" fmla="*/ 6149 h 51323"/>
                <a:gd name="connsiteX409" fmla="*/ 20303 w 51323"/>
                <a:gd name="connsiteY409" fmla="*/ 6149 h 51323"/>
                <a:gd name="connsiteX410" fmla="*/ 20406 w 51323"/>
                <a:gd name="connsiteY410" fmla="*/ 6149 h 51323"/>
                <a:gd name="connsiteX411" fmla="*/ 20492 w 51323"/>
                <a:gd name="connsiteY411" fmla="*/ 6235 h 51323"/>
                <a:gd name="connsiteX412" fmla="*/ 20354 w 51323"/>
                <a:gd name="connsiteY412" fmla="*/ 6235 h 51323"/>
                <a:gd name="connsiteX413" fmla="*/ 20165 w 51323"/>
                <a:gd name="connsiteY413" fmla="*/ 6355 h 51323"/>
                <a:gd name="connsiteX414" fmla="*/ 20337 w 51323"/>
                <a:gd name="connsiteY414" fmla="*/ 6355 h 51323"/>
                <a:gd name="connsiteX415" fmla="*/ 19856 w 51323"/>
                <a:gd name="connsiteY415" fmla="*/ 6716 h 51323"/>
                <a:gd name="connsiteX416" fmla="*/ 20097 w 51323"/>
                <a:gd name="connsiteY416" fmla="*/ 6716 h 51323"/>
                <a:gd name="connsiteX417" fmla="*/ 19667 w 51323"/>
                <a:gd name="connsiteY417" fmla="*/ 6939 h 51323"/>
                <a:gd name="connsiteX418" fmla="*/ 19495 w 51323"/>
                <a:gd name="connsiteY418" fmla="*/ 7145 h 51323"/>
                <a:gd name="connsiteX419" fmla="*/ 19358 w 51323"/>
                <a:gd name="connsiteY419" fmla="*/ 7266 h 51323"/>
                <a:gd name="connsiteX420" fmla="*/ 19358 w 51323"/>
                <a:gd name="connsiteY420" fmla="*/ 7352 h 51323"/>
                <a:gd name="connsiteX421" fmla="*/ 19358 w 51323"/>
                <a:gd name="connsiteY421" fmla="*/ 7523 h 51323"/>
                <a:gd name="connsiteX422" fmla="*/ 19049 w 51323"/>
                <a:gd name="connsiteY422" fmla="*/ 7626 h 51323"/>
                <a:gd name="connsiteX423" fmla="*/ 18860 w 51323"/>
                <a:gd name="connsiteY423" fmla="*/ 7918 h 51323"/>
                <a:gd name="connsiteX424" fmla="*/ 18860 w 51323"/>
                <a:gd name="connsiteY424" fmla="*/ 8039 h 51323"/>
                <a:gd name="connsiteX425" fmla="*/ 18705 w 51323"/>
                <a:gd name="connsiteY425" fmla="*/ 8399 h 51323"/>
                <a:gd name="connsiteX426" fmla="*/ 18551 w 51323"/>
                <a:gd name="connsiteY426" fmla="*/ 8588 h 51323"/>
                <a:gd name="connsiteX427" fmla="*/ 18396 w 51323"/>
                <a:gd name="connsiteY427" fmla="*/ 8829 h 51323"/>
                <a:gd name="connsiteX428" fmla="*/ 18190 w 51323"/>
                <a:gd name="connsiteY428" fmla="*/ 8966 h 51323"/>
                <a:gd name="connsiteX429" fmla="*/ 18190 w 51323"/>
                <a:gd name="connsiteY429" fmla="*/ 8966 h 51323"/>
                <a:gd name="connsiteX430" fmla="*/ 17846 w 51323"/>
                <a:gd name="connsiteY430" fmla="*/ 9155 h 51323"/>
                <a:gd name="connsiteX431" fmla="*/ 18224 w 51323"/>
                <a:gd name="connsiteY431" fmla="*/ 8605 h 51323"/>
                <a:gd name="connsiteX432" fmla="*/ 18224 w 51323"/>
                <a:gd name="connsiteY432" fmla="*/ 8434 h 51323"/>
                <a:gd name="connsiteX433" fmla="*/ 18053 w 51323"/>
                <a:gd name="connsiteY433" fmla="*/ 8434 h 51323"/>
                <a:gd name="connsiteX434" fmla="*/ 17486 w 51323"/>
                <a:gd name="connsiteY434" fmla="*/ 9155 h 51323"/>
                <a:gd name="connsiteX435" fmla="*/ 16747 w 51323"/>
                <a:gd name="connsiteY435" fmla="*/ 9842 h 51323"/>
                <a:gd name="connsiteX436" fmla="*/ 16747 w 51323"/>
                <a:gd name="connsiteY436" fmla="*/ 9396 h 51323"/>
                <a:gd name="connsiteX437" fmla="*/ 16524 w 51323"/>
                <a:gd name="connsiteY437" fmla="*/ 10306 h 51323"/>
                <a:gd name="connsiteX438" fmla="*/ 16799 w 51323"/>
                <a:gd name="connsiteY438" fmla="*/ 9069 h 51323"/>
                <a:gd name="connsiteX439" fmla="*/ 16558 w 51323"/>
                <a:gd name="connsiteY439" fmla="*/ 9069 h 51323"/>
                <a:gd name="connsiteX440" fmla="*/ 16301 w 51323"/>
                <a:gd name="connsiteY440" fmla="*/ 9069 h 51323"/>
                <a:gd name="connsiteX441" fmla="*/ 16850 w 51323"/>
                <a:gd name="connsiteY441" fmla="*/ 8794 h 51323"/>
                <a:gd name="connsiteX442" fmla="*/ 19530 w 51323"/>
                <a:gd name="connsiteY442" fmla="*/ 6733 h 51323"/>
                <a:gd name="connsiteX443" fmla="*/ 18980 w 51323"/>
                <a:gd name="connsiteY443" fmla="*/ 6733 h 51323"/>
                <a:gd name="connsiteX444" fmla="*/ 18980 w 51323"/>
                <a:gd name="connsiteY444" fmla="*/ 6561 h 51323"/>
                <a:gd name="connsiteX445" fmla="*/ 18980 w 51323"/>
                <a:gd name="connsiteY445" fmla="*/ 6373 h 51323"/>
                <a:gd name="connsiteX446" fmla="*/ 19083 w 51323"/>
                <a:gd name="connsiteY446" fmla="*/ 6373 h 51323"/>
                <a:gd name="connsiteX447" fmla="*/ 18929 w 51323"/>
                <a:gd name="connsiteY447" fmla="*/ 6458 h 51323"/>
                <a:gd name="connsiteX448" fmla="*/ 18173 w 51323"/>
                <a:gd name="connsiteY448" fmla="*/ 6871 h 51323"/>
                <a:gd name="connsiteX449" fmla="*/ 18173 w 51323"/>
                <a:gd name="connsiteY449" fmla="*/ 6871 h 51323"/>
                <a:gd name="connsiteX450" fmla="*/ 18293 w 51323"/>
                <a:gd name="connsiteY450" fmla="*/ 6871 h 51323"/>
                <a:gd name="connsiteX451" fmla="*/ 18242 w 51323"/>
                <a:gd name="connsiteY451" fmla="*/ 6871 h 51323"/>
                <a:gd name="connsiteX452" fmla="*/ 18242 w 51323"/>
                <a:gd name="connsiteY452" fmla="*/ 6871 h 51323"/>
                <a:gd name="connsiteX453" fmla="*/ 17898 w 51323"/>
                <a:gd name="connsiteY453" fmla="*/ 7025 h 51323"/>
                <a:gd name="connsiteX454" fmla="*/ 17898 w 51323"/>
                <a:gd name="connsiteY454" fmla="*/ 7025 h 51323"/>
                <a:gd name="connsiteX455" fmla="*/ 17898 w 51323"/>
                <a:gd name="connsiteY455" fmla="*/ 7025 h 51323"/>
                <a:gd name="connsiteX456" fmla="*/ 18001 w 51323"/>
                <a:gd name="connsiteY456" fmla="*/ 7025 h 51323"/>
                <a:gd name="connsiteX457" fmla="*/ 18001 w 51323"/>
                <a:gd name="connsiteY457" fmla="*/ 7025 h 51323"/>
                <a:gd name="connsiteX458" fmla="*/ 18001 w 51323"/>
                <a:gd name="connsiteY458" fmla="*/ 7025 h 51323"/>
                <a:gd name="connsiteX459" fmla="*/ 17829 w 51323"/>
                <a:gd name="connsiteY459" fmla="*/ 7025 h 51323"/>
                <a:gd name="connsiteX460" fmla="*/ 17829 w 51323"/>
                <a:gd name="connsiteY460" fmla="*/ 7025 h 51323"/>
                <a:gd name="connsiteX461" fmla="*/ 17829 w 51323"/>
                <a:gd name="connsiteY461" fmla="*/ 7025 h 51323"/>
                <a:gd name="connsiteX462" fmla="*/ 17177 w 51323"/>
                <a:gd name="connsiteY462" fmla="*/ 7437 h 51323"/>
                <a:gd name="connsiteX463" fmla="*/ 17434 w 51323"/>
                <a:gd name="connsiteY463" fmla="*/ 7334 h 51323"/>
                <a:gd name="connsiteX464" fmla="*/ 17434 w 51323"/>
                <a:gd name="connsiteY464" fmla="*/ 7334 h 51323"/>
                <a:gd name="connsiteX465" fmla="*/ 17864 w 51323"/>
                <a:gd name="connsiteY465" fmla="*/ 7111 h 51323"/>
                <a:gd name="connsiteX466" fmla="*/ 17331 w 51323"/>
                <a:gd name="connsiteY466" fmla="*/ 7489 h 51323"/>
                <a:gd name="connsiteX467" fmla="*/ 17331 w 51323"/>
                <a:gd name="connsiteY467" fmla="*/ 7489 h 51323"/>
                <a:gd name="connsiteX468" fmla="*/ 16644 w 51323"/>
                <a:gd name="connsiteY468" fmla="*/ 7970 h 51323"/>
                <a:gd name="connsiteX469" fmla="*/ 16799 w 51323"/>
                <a:gd name="connsiteY469" fmla="*/ 7884 h 51323"/>
                <a:gd name="connsiteX470" fmla="*/ 16799 w 51323"/>
                <a:gd name="connsiteY470" fmla="*/ 7884 h 51323"/>
                <a:gd name="connsiteX471" fmla="*/ 17675 w 51323"/>
                <a:gd name="connsiteY471" fmla="*/ 7437 h 51323"/>
                <a:gd name="connsiteX472" fmla="*/ 17675 w 51323"/>
                <a:gd name="connsiteY472" fmla="*/ 7437 h 51323"/>
                <a:gd name="connsiteX473" fmla="*/ 17675 w 51323"/>
                <a:gd name="connsiteY473" fmla="*/ 7437 h 51323"/>
                <a:gd name="connsiteX474" fmla="*/ 17812 w 51323"/>
                <a:gd name="connsiteY474" fmla="*/ 7352 h 51323"/>
                <a:gd name="connsiteX475" fmla="*/ 17812 w 51323"/>
                <a:gd name="connsiteY475" fmla="*/ 7352 h 51323"/>
                <a:gd name="connsiteX476" fmla="*/ 17932 w 51323"/>
                <a:gd name="connsiteY476" fmla="*/ 7352 h 51323"/>
                <a:gd name="connsiteX477" fmla="*/ 17932 w 51323"/>
                <a:gd name="connsiteY477" fmla="*/ 7352 h 51323"/>
                <a:gd name="connsiteX478" fmla="*/ 18362 w 51323"/>
                <a:gd name="connsiteY478" fmla="*/ 7111 h 51323"/>
                <a:gd name="connsiteX479" fmla="*/ 18362 w 51323"/>
                <a:gd name="connsiteY479" fmla="*/ 7266 h 51323"/>
                <a:gd name="connsiteX480" fmla="*/ 18362 w 51323"/>
                <a:gd name="connsiteY480" fmla="*/ 7266 h 51323"/>
                <a:gd name="connsiteX481" fmla="*/ 18242 w 51323"/>
                <a:gd name="connsiteY481" fmla="*/ 7386 h 51323"/>
                <a:gd name="connsiteX482" fmla="*/ 18104 w 51323"/>
                <a:gd name="connsiteY482" fmla="*/ 7489 h 51323"/>
                <a:gd name="connsiteX483" fmla="*/ 17898 w 51323"/>
                <a:gd name="connsiteY483" fmla="*/ 7626 h 51323"/>
                <a:gd name="connsiteX484" fmla="*/ 17898 w 51323"/>
                <a:gd name="connsiteY484" fmla="*/ 7626 h 51323"/>
                <a:gd name="connsiteX485" fmla="*/ 17898 w 51323"/>
                <a:gd name="connsiteY485" fmla="*/ 7626 h 51323"/>
                <a:gd name="connsiteX486" fmla="*/ 17692 w 51323"/>
                <a:gd name="connsiteY486" fmla="*/ 7626 h 51323"/>
                <a:gd name="connsiteX487" fmla="*/ 17692 w 51323"/>
                <a:gd name="connsiteY487" fmla="*/ 7626 h 51323"/>
                <a:gd name="connsiteX488" fmla="*/ 17537 w 51323"/>
                <a:gd name="connsiteY488" fmla="*/ 7729 h 51323"/>
                <a:gd name="connsiteX489" fmla="*/ 17537 w 51323"/>
                <a:gd name="connsiteY489" fmla="*/ 7729 h 51323"/>
                <a:gd name="connsiteX490" fmla="*/ 17537 w 51323"/>
                <a:gd name="connsiteY490" fmla="*/ 7729 h 51323"/>
                <a:gd name="connsiteX491" fmla="*/ 16438 w 51323"/>
                <a:gd name="connsiteY491" fmla="*/ 8296 h 51323"/>
                <a:gd name="connsiteX492" fmla="*/ 16524 w 51323"/>
                <a:gd name="connsiteY492" fmla="*/ 8245 h 51323"/>
                <a:gd name="connsiteX493" fmla="*/ 16524 w 51323"/>
                <a:gd name="connsiteY493" fmla="*/ 8245 h 51323"/>
                <a:gd name="connsiteX494" fmla="*/ 16661 w 51323"/>
                <a:gd name="connsiteY494" fmla="*/ 8125 h 51323"/>
                <a:gd name="connsiteX495" fmla="*/ 16661 w 51323"/>
                <a:gd name="connsiteY495" fmla="*/ 8125 h 51323"/>
                <a:gd name="connsiteX496" fmla="*/ 16661 w 51323"/>
                <a:gd name="connsiteY496" fmla="*/ 8125 h 51323"/>
                <a:gd name="connsiteX497" fmla="*/ 16301 w 51323"/>
                <a:gd name="connsiteY497" fmla="*/ 8451 h 51323"/>
                <a:gd name="connsiteX498" fmla="*/ 16404 w 51323"/>
                <a:gd name="connsiteY498" fmla="*/ 8296 h 51323"/>
                <a:gd name="connsiteX499" fmla="*/ 16283 w 51323"/>
                <a:gd name="connsiteY499" fmla="*/ 8399 h 51323"/>
                <a:gd name="connsiteX500" fmla="*/ 16283 w 51323"/>
                <a:gd name="connsiteY500" fmla="*/ 8399 h 51323"/>
                <a:gd name="connsiteX501" fmla="*/ 16283 w 51323"/>
                <a:gd name="connsiteY501" fmla="*/ 8399 h 51323"/>
                <a:gd name="connsiteX502" fmla="*/ 16438 w 51323"/>
                <a:gd name="connsiteY502" fmla="*/ 8279 h 51323"/>
                <a:gd name="connsiteX503" fmla="*/ 16438 w 51323"/>
                <a:gd name="connsiteY503" fmla="*/ 8279 h 51323"/>
                <a:gd name="connsiteX504" fmla="*/ 16438 w 51323"/>
                <a:gd name="connsiteY504" fmla="*/ 8279 h 51323"/>
                <a:gd name="connsiteX505" fmla="*/ 16438 w 51323"/>
                <a:gd name="connsiteY505" fmla="*/ 8279 h 51323"/>
                <a:gd name="connsiteX506" fmla="*/ 15837 w 51323"/>
                <a:gd name="connsiteY506" fmla="*/ 8657 h 51323"/>
                <a:gd name="connsiteX507" fmla="*/ 15837 w 51323"/>
                <a:gd name="connsiteY507" fmla="*/ 8657 h 51323"/>
                <a:gd name="connsiteX508" fmla="*/ 15837 w 51323"/>
                <a:gd name="connsiteY508" fmla="*/ 8365 h 51323"/>
                <a:gd name="connsiteX509" fmla="*/ 15287 w 51323"/>
                <a:gd name="connsiteY509" fmla="*/ 8932 h 51323"/>
                <a:gd name="connsiteX510" fmla="*/ 15287 w 51323"/>
                <a:gd name="connsiteY510" fmla="*/ 8932 h 51323"/>
                <a:gd name="connsiteX511" fmla="*/ 14841 w 51323"/>
                <a:gd name="connsiteY511" fmla="*/ 9138 h 51323"/>
                <a:gd name="connsiteX512" fmla="*/ 14841 w 51323"/>
                <a:gd name="connsiteY512" fmla="*/ 9138 h 51323"/>
                <a:gd name="connsiteX513" fmla="*/ 14841 w 51323"/>
                <a:gd name="connsiteY513" fmla="*/ 9138 h 51323"/>
                <a:gd name="connsiteX514" fmla="*/ 14841 w 51323"/>
                <a:gd name="connsiteY514" fmla="*/ 9138 h 51323"/>
                <a:gd name="connsiteX515" fmla="*/ 14961 w 51323"/>
                <a:gd name="connsiteY515" fmla="*/ 9035 h 51323"/>
                <a:gd name="connsiteX516" fmla="*/ 14806 w 51323"/>
                <a:gd name="connsiteY516" fmla="*/ 9121 h 51323"/>
                <a:gd name="connsiteX517" fmla="*/ 14909 w 51323"/>
                <a:gd name="connsiteY517" fmla="*/ 9018 h 51323"/>
                <a:gd name="connsiteX518" fmla="*/ 14686 w 51323"/>
                <a:gd name="connsiteY518" fmla="*/ 9138 h 51323"/>
                <a:gd name="connsiteX519" fmla="*/ 14531 w 51323"/>
                <a:gd name="connsiteY519" fmla="*/ 9258 h 51323"/>
                <a:gd name="connsiteX520" fmla="*/ 14789 w 51323"/>
                <a:gd name="connsiteY520" fmla="*/ 8846 h 51323"/>
                <a:gd name="connsiteX521" fmla="*/ 14789 w 51323"/>
                <a:gd name="connsiteY521" fmla="*/ 8846 h 51323"/>
                <a:gd name="connsiteX522" fmla="*/ 14789 w 51323"/>
                <a:gd name="connsiteY522" fmla="*/ 8846 h 51323"/>
                <a:gd name="connsiteX523" fmla="*/ 14703 w 51323"/>
                <a:gd name="connsiteY523" fmla="*/ 8949 h 51323"/>
                <a:gd name="connsiteX524" fmla="*/ 14549 w 51323"/>
                <a:gd name="connsiteY524" fmla="*/ 9121 h 51323"/>
                <a:gd name="connsiteX525" fmla="*/ 14686 w 51323"/>
                <a:gd name="connsiteY525" fmla="*/ 9121 h 51323"/>
                <a:gd name="connsiteX526" fmla="*/ 14411 w 51323"/>
                <a:gd name="connsiteY526" fmla="*/ 9121 h 51323"/>
                <a:gd name="connsiteX527" fmla="*/ 14085 w 51323"/>
                <a:gd name="connsiteY527" fmla="*/ 9447 h 51323"/>
                <a:gd name="connsiteX528" fmla="*/ 14085 w 51323"/>
                <a:gd name="connsiteY528" fmla="*/ 9447 h 51323"/>
                <a:gd name="connsiteX529" fmla="*/ 14085 w 51323"/>
                <a:gd name="connsiteY529" fmla="*/ 9447 h 51323"/>
                <a:gd name="connsiteX530" fmla="*/ 14085 w 51323"/>
                <a:gd name="connsiteY530" fmla="*/ 9447 h 51323"/>
                <a:gd name="connsiteX531" fmla="*/ 13930 w 51323"/>
                <a:gd name="connsiteY531" fmla="*/ 9585 h 51323"/>
                <a:gd name="connsiteX532" fmla="*/ 13930 w 51323"/>
                <a:gd name="connsiteY532" fmla="*/ 9585 h 51323"/>
                <a:gd name="connsiteX533" fmla="*/ 13776 w 51323"/>
                <a:gd name="connsiteY533" fmla="*/ 9585 h 51323"/>
                <a:gd name="connsiteX534" fmla="*/ 13123 w 51323"/>
                <a:gd name="connsiteY534" fmla="*/ 9945 h 51323"/>
                <a:gd name="connsiteX535" fmla="*/ 13123 w 51323"/>
                <a:gd name="connsiteY535" fmla="*/ 9945 h 51323"/>
                <a:gd name="connsiteX536" fmla="*/ 11903 w 51323"/>
                <a:gd name="connsiteY536" fmla="*/ 10907 h 51323"/>
                <a:gd name="connsiteX537" fmla="*/ 11525 w 51323"/>
                <a:gd name="connsiteY537" fmla="*/ 11405 h 51323"/>
                <a:gd name="connsiteX538" fmla="*/ 11525 w 51323"/>
                <a:gd name="connsiteY538" fmla="*/ 12092 h 51323"/>
                <a:gd name="connsiteX539" fmla="*/ 11525 w 51323"/>
                <a:gd name="connsiteY539" fmla="*/ 12092 h 51323"/>
                <a:gd name="connsiteX540" fmla="*/ 11405 w 51323"/>
                <a:gd name="connsiteY540" fmla="*/ 12556 h 51323"/>
                <a:gd name="connsiteX541" fmla="*/ 11629 w 51323"/>
                <a:gd name="connsiteY541" fmla="*/ 12693 h 51323"/>
                <a:gd name="connsiteX542" fmla="*/ 11629 w 51323"/>
                <a:gd name="connsiteY542" fmla="*/ 12693 h 51323"/>
                <a:gd name="connsiteX543" fmla="*/ 10392 w 51323"/>
                <a:gd name="connsiteY543" fmla="*/ 14325 h 51323"/>
                <a:gd name="connsiteX544" fmla="*/ 10753 w 51323"/>
                <a:gd name="connsiteY544" fmla="*/ 14188 h 51323"/>
                <a:gd name="connsiteX545" fmla="*/ 10649 w 51323"/>
                <a:gd name="connsiteY545" fmla="*/ 14514 h 51323"/>
                <a:gd name="connsiteX546" fmla="*/ 12608 w 51323"/>
                <a:gd name="connsiteY546" fmla="*/ 12590 h 51323"/>
                <a:gd name="connsiteX547" fmla="*/ 13999 w 51323"/>
                <a:gd name="connsiteY547" fmla="*/ 11148 h 51323"/>
                <a:gd name="connsiteX548" fmla="*/ 13999 w 51323"/>
                <a:gd name="connsiteY548" fmla="*/ 11148 h 51323"/>
                <a:gd name="connsiteX549" fmla="*/ 14205 w 51323"/>
                <a:gd name="connsiteY549" fmla="*/ 10976 h 51323"/>
                <a:gd name="connsiteX550" fmla="*/ 14325 w 51323"/>
                <a:gd name="connsiteY550" fmla="*/ 10856 h 51323"/>
                <a:gd name="connsiteX551" fmla="*/ 15081 w 51323"/>
                <a:gd name="connsiteY551" fmla="*/ 10409 h 51323"/>
                <a:gd name="connsiteX552" fmla="*/ 15201 w 51323"/>
                <a:gd name="connsiteY552" fmla="*/ 10409 h 51323"/>
                <a:gd name="connsiteX553" fmla="*/ 15201 w 51323"/>
                <a:gd name="connsiteY553" fmla="*/ 10409 h 51323"/>
                <a:gd name="connsiteX554" fmla="*/ 15304 w 51323"/>
                <a:gd name="connsiteY554" fmla="*/ 10564 h 51323"/>
                <a:gd name="connsiteX555" fmla="*/ 15167 w 51323"/>
                <a:gd name="connsiteY555" fmla="*/ 10701 h 51323"/>
                <a:gd name="connsiteX556" fmla="*/ 15167 w 51323"/>
                <a:gd name="connsiteY556" fmla="*/ 10701 h 51323"/>
                <a:gd name="connsiteX557" fmla="*/ 15167 w 51323"/>
                <a:gd name="connsiteY557" fmla="*/ 10856 h 51323"/>
                <a:gd name="connsiteX558" fmla="*/ 15167 w 51323"/>
                <a:gd name="connsiteY558" fmla="*/ 10856 h 51323"/>
                <a:gd name="connsiteX559" fmla="*/ 15167 w 51323"/>
                <a:gd name="connsiteY559" fmla="*/ 10941 h 51323"/>
                <a:gd name="connsiteX560" fmla="*/ 15167 w 51323"/>
                <a:gd name="connsiteY560" fmla="*/ 10941 h 51323"/>
                <a:gd name="connsiteX561" fmla="*/ 15047 w 51323"/>
                <a:gd name="connsiteY561" fmla="*/ 11079 h 51323"/>
                <a:gd name="connsiteX562" fmla="*/ 15047 w 51323"/>
                <a:gd name="connsiteY562" fmla="*/ 11079 h 51323"/>
                <a:gd name="connsiteX563" fmla="*/ 15047 w 51323"/>
                <a:gd name="connsiteY563" fmla="*/ 11079 h 51323"/>
                <a:gd name="connsiteX564" fmla="*/ 15047 w 51323"/>
                <a:gd name="connsiteY564" fmla="*/ 11079 h 51323"/>
                <a:gd name="connsiteX565" fmla="*/ 15047 w 51323"/>
                <a:gd name="connsiteY565" fmla="*/ 11079 h 51323"/>
                <a:gd name="connsiteX566" fmla="*/ 15047 w 51323"/>
                <a:gd name="connsiteY566" fmla="*/ 11079 h 51323"/>
                <a:gd name="connsiteX567" fmla="*/ 15047 w 51323"/>
                <a:gd name="connsiteY567" fmla="*/ 11216 h 51323"/>
                <a:gd name="connsiteX568" fmla="*/ 15201 w 51323"/>
                <a:gd name="connsiteY568" fmla="*/ 11130 h 51323"/>
                <a:gd name="connsiteX569" fmla="*/ 14789 w 51323"/>
                <a:gd name="connsiteY569" fmla="*/ 11508 h 51323"/>
                <a:gd name="connsiteX570" fmla="*/ 14789 w 51323"/>
                <a:gd name="connsiteY570" fmla="*/ 11508 h 51323"/>
                <a:gd name="connsiteX571" fmla="*/ 14583 w 51323"/>
                <a:gd name="connsiteY571" fmla="*/ 11508 h 51323"/>
                <a:gd name="connsiteX572" fmla="*/ 14325 w 51323"/>
                <a:gd name="connsiteY572" fmla="*/ 11989 h 51323"/>
                <a:gd name="connsiteX573" fmla="*/ 14325 w 51323"/>
                <a:gd name="connsiteY573" fmla="*/ 11989 h 51323"/>
                <a:gd name="connsiteX574" fmla="*/ 14016 w 51323"/>
                <a:gd name="connsiteY574" fmla="*/ 12367 h 51323"/>
                <a:gd name="connsiteX575" fmla="*/ 14016 w 51323"/>
                <a:gd name="connsiteY575" fmla="*/ 12367 h 51323"/>
                <a:gd name="connsiteX576" fmla="*/ 14308 w 51323"/>
                <a:gd name="connsiteY576" fmla="*/ 12230 h 51323"/>
                <a:gd name="connsiteX577" fmla="*/ 14549 w 51323"/>
                <a:gd name="connsiteY577" fmla="*/ 12075 h 51323"/>
                <a:gd name="connsiteX578" fmla="*/ 14549 w 51323"/>
                <a:gd name="connsiteY578" fmla="*/ 12247 h 51323"/>
                <a:gd name="connsiteX579" fmla="*/ 14995 w 51323"/>
                <a:gd name="connsiteY579" fmla="*/ 11921 h 51323"/>
                <a:gd name="connsiteX580" fmla="*/ 14995 w 51323"/>
                <a:gd name="connsiteY580" fmla="*/ 11921 h 51323"/>
                <a:gd name="connsiteX581" fmla="*/ 15133 w 51323"/>
                <a:gd name="connsiteY581" fmla="*/ 11817 h 51323"/>
                <a:gd name="connsiteX582" fmla="*/ 15133 w 51323"/>
                <a:gd name="connsiteY582" fmla="*/ 11817 h 51323"/>
                <a:gd name="connsiteX583" fmla="*/ 15442 w 51323"/>
                <a:gd name="connsiteY583" fmla="*/ 11577 h 51323"/>
                <a:gd name="connsiteX584" fmla="*/ 15442 w 51323"/>
                <a:gd name="connsiteY584" fmla="*/ 11577 h 51323"/>
                <a:gd name="connsiteX585" fmla="*/ 15322 w 51323"/>
                <a:gd name="connsiteY585" fmla="*/ 11697 h 51323"/>
                <a:gd name="connsiteX586" fmla="*/ 15322 w 51323"/>
                <a:gd name="connsiteY586" fmla="*/ 11783 h 51323"/>
                <a:gd name="connsiteX587" fmla="*/ 15322 w 51323"/>
                <a:gd name="connsiteY587" fmla="*/ 11783 h 51323"/>
                <a:gd name="connsiteX588" fmla="*/ 15150 w 51323"/>
                <a:gd name="connsiteY588" fmla="*/ 12006 h 51323"/>
                <a:gd name="connsiteX589" fmla="*/ 15150 w 51323"/>
                <a:gd name="connsiteY589" fmla="*/ 12006 h 51323"/>
                <a:gd name="connsiteX590" fmla="*/ 15150 w 51323"/>
                <a:gd name="connsiteY590" fmla="*/ 12144 h 51323"/>
                <a:gd name="connsiteX591" fmla="*/ 15150 w 51323"/>
                <a:gd name="connsiteY591" fmla="*/ 12247 h 51323"/>
                <a:gd name="connsiteX592" fmla="*/ 14978 w 51323"/>
                <a:gd name="connsiteY592" fmla="*/ 12247 h 51323"/>
                <a:gd name="connsiteX593" fmla="*/ 14978 w 51323"/>
                <a:gd name="connsiteY593" fmla="*/ 12350 h 51323"/>
                <a:gd name="connsiteX594" fmla="*/ 15150 w 51323"/>
                <a:gd name="connsiteY594" fmla="*/ 12350 h 51323"/>
                <a:gd name="connsiteX595" fmla="*/ 14892 w 51323"/>
                <a:gd name="connsiteY595" fmla="*/ 12505 h 51323"/>
                <a:gd name="connsiteX596" fmla="*/ 14892 w 51323"/>
                <a:gd name="connsiteY596" fmla="*/ 12608 h 51323"/>
                <a:gd name="connsiteX597" fmla="*/ 14995 w 51323"/>
                <a:gd name="connsiteY597" fmla="*/ 12608 h 51323"/>
                <a:gd name="connsiteX598" fmla="*/ 14889 w 51323"/>
                <a:gd name="connsiteY598" fmla="*/ 12770 h 51323"/>
                <a:gd name="connsiteX599" fmla="*/ 14806 w 51323"/>
                <a:gd name="connsiteY599" fmla="*/ 12762 h 51323"/>
                <a:gd name="connsiteX600" fmla="*/ 14806 w 51323"/>
                <a:gd name="connsiteY600" fmla="*/ 12917 h 51323"/>
                <a:gd name="connsiteX601" fmla="*/ 14566 w 51323"/>
                <a:gd name="connsiteY601" fmla="*/ 13089 h 51323"/>
                <a:gd name="connsiteX602" fmla="*/ 14411 w 51323"/>
                <a:gd name="connsiteY602" fmla="*/ 13312 h 51323"/>
                <a:gd name="connsiteX603" fmla="*/ 14531 w 51323"/>
                <a:gd name="connsiteY603" fmla="*/ 13415 h 51323"/>
                <a:gd name="connsiteX604" fmla="*/ 14531 w 51323"/>
                <a:gd name="connsiteY604" fmla="*/ 13501 h 51323"/>
                <a:gd name="connsiteX605" fmla="*/ 14531 w 51323"/>
                <a:gd name="connsiteY605" fmla="*/ 13621 h 51323"/>
                <a:gd name="connsiteX606" fmla="*/ 14634 w 51323"/>
                <a:gd name="connsiteY606" fmla="*/ 13621 h 51323"/>
                <a:gd name="connsiteX607" fmla="*/ 14325 w 51323"/>
                <a:gd name="connsiteY607" fmla="*/ 13844 h 51323"/>
                <a:gd name="connsiteX608" fmla="*/ 14549 w 51323"/>
                <a:gd name="connsiteY608" fmla="*/ 13844 h 51323"/>
                <a:gd name="connsiteX609" fmla="*/ 14549 w 51323"/>
                <a:gd name="connsiteY609" fmla="*/ 13844 h 51323"/>
                <a:gd name="connsiteX610" fmla="*/ 14394 w 51323"/>
                <a:gd name="connsiteY610" fmla="*/ 13999 h 51323"/>
                <a:gd name="connsiteX611" fmla="*/ 14549 w 51323"/>
                <a:gd name="connsiteY611" fmla="*/ 13999 h 51323"/>
                <a:gd name="connsiteX612" fmla="*/ 14549 w 51323"/>
                <a:gd name="connsiteY612" fmla="*/ 13999 h 51323"/>
                <a:gd name="connsiteX613" fmla="*/ 14446 w 51323"/>
                <a:gd name="connsiteY613" fmla="*/ 14153 h 51323"/>
                <a:gd name="connsiteX614" fmla="*/ 14549 w 51323"/>
                <a:gd name="connsiteY614" fmla="*/ 14153 h 51323"/>
                <a:gd name="connsiteX615" fmla="*/ 14119 w 51323"/>
                <a:gd name="connsiteY615" fmla="*/ 14360 h 51323"/>
                <a:gd name="connsiteX616" fmla="*/ 13896 w 51323"/>
                <a:gd name="connsiteY616" fmla="*/ 14497 h 51323"/>
                <a:gd name="connsiteX617" fmla="*/ 13896 w 51323"/>
                <a:gd name="connsiteY617" fmla="*/ 14308 h 51323"/>
                <a:gd name="connsiteX618" fmla="*/ 13793 w 51323"/>
                <a:gd name="connsiteY618" fmla="*/ 14634 h 51323"/>
                <a:gd name="connsiteX619" fmla="*/ 14428 w 51323"/>
                <a:gd name="connsiteY619" fmla="*/ 14411 h 51323"/>
                <a:gd name="connsiteX620" fmla="*/ 14428 w 51323"/>
                <a:gd name="connsiteY620" fmla="*/ 14617 h 51323"/>
                <a:gd name="connsiteX621" fmla="*/ 14428 w 51323"/>
                <a:gd name="connsiteY621" fmla="*/ 14617 h 51323"/>
                <a:gd name="connsiteX622" fmla="*/ 14566 w 51323"/>
                <a:gd name="connsiteY622" fmla="*/ 14617 h 51323"/>
                <a:gd name="connsiteX623" fmla="*/ 14652 w 51323"/>
                <a:gd name="connsiteY623" fmla="*/ 14617 h 51323"/>
                <a:gd name="connsiteX624" fmla="*/ 14497 w 51323"/>
                <a:gd name="connsiteY624" fmla="*/ 14772 h 51323"/>
                <a:gd name="connsiteX625" fmla="*/ 14360 w 51323"/>
                <a:gd name="connsiteY625" fmla="*/ 14875 h 51323"/>
                <a:gd name="connsiteX626" fmla="*/ 14360 w 51323"/>
                <a:gd name="connsiteY626" fmla="*/ 15012 h 51323"/>
                <a:gd name="connsiteX627" fmla="*/ 13844 w 51323"/>
                <a:gd name="connsiteY627" fmla="*/ 15287 h 51323"/>
                <a:gd name="connsiteX628" fmla="*/ 13844 w 51323"/>
                <a:gd name="connsiteY628" fmla="*/ 15287 h 51323"/>
                <a:gd name="connsiteX629" fmla="*/ 12590 w 51323"/>
                <a:gd name="connsiteY629" fmla="*/ 15407 h 51323"/>
                <a:gd name="connsiteX630" fmla="*/ 12247 w 51323"/>
                <a:gd name="connsiteY630" fmla="*/ 15253 h 51323"/>
                <a:gd name="connsiteX631" fmla="*/ 10426 w 51323"/>
                <a:gd name="connsiteY631" fmla="*/ 16369 h 51323"/>
                <a:gd name="connsiteX632" fmla="*/ 11749 w 51323"/>
                <a:gd name="connsiteY632" fmla="*/ 16369 h 51323"/>
                <a:gd name="connsiteX633" fmla="*/ 11577 w 51323"/>
                <a:gd name="connsiteY633" fmla="*/ 16507 h 51323"/>
                <a:gd name="connsiteX634" fmla="*/ 11577 w 51323"/>
                <a:gd name="connsiteY634" fmla="*/ 16936 h 51323"/>
                <a:gd name="connsiteX635" fmla="*/ 11835 w 51323"/>
                <a:gd name="connsiteY635" fmla="*/ 17125 h 51323"/>
                <a:gd name="connsiteX636" fmla="*/ 11835 w 51323"/>
                <a:gd name="connsiteY636" fmla="*/ 17245 h 51323"/>
                <a:gd name="connsiteX637" fmla="*/ 11251 w 51323"/>
                <a:gd name="connsiteY637" fmla="*/ 17365 h 51323"/>
                <a:gd name="connsiteX638" fmla="*/ 10770 w 51323"/>
                <a:gd name="connsiteY638" fmla="*/ 17743 h 51323"/>
                <a:gd name="connsiteX639" fmla="*/ 10770 w 51323"/>
                <a:gd name="connsiteY639" fmla="*/ 17743 h 51323"/>
                <a:gd name="connsiteX640" fmla="*/ 10770 w 51323"/>
                <a:gd name="connsiteY640" fmla="*/ 17640 h 51323"/>
                <a:gd name="connsiteX641" fmla="*/ 11371 w 51323"/>
                <a:gd name="connsiteY641" fmla="*/ 17280 h 51323"/>
                <a:gd name="connsiteX642" fmla="*/ 11543 w 51323"/>
                <a:gd name="connsiteY642" fmla="*/ 17194 h 51323"/>
                <a:gd name="connsiteX643" fmla="*/ 11543 w 51323"/>
                <a:gd name="connsiteY643" fmla="*/ 16970 h 51323"/>
                <a:gd name="connsiteX644" fmla="*/ 11543 w 51323"/>
                <a:gd name="connsiteY644" fmla="*/ 16970 h 51323"/>
                <a:gd name="connsiteX645" fmla="*/ 11543 w 51323"/>
                <a:gd name="connsiteY645" fmla="*/ 16970 h 51323"/>
                <a:gd name="connsiteX646" fmla="*/ 11233 w 51323"/>
                <a:gd name="connsiteY646" fmla="*/ 16970 h 51323"/>
                <a:gd name="connsiteX647" fmla="*/ 10924 w 51323"/>
                <a:gd name="connsiteY647" fmla="*/ 16970 h 51323"/>
                <a:gd name="connsiteX648" fmla="*/ 10924 w 51323"/>
                <a:gd name="connsiteY648" fmla="*/ 17159 h 51323"/>
                <a:gd name="connsiteX649" fmla="*/ 10924 w 51323"/>
                <a:gd name="connsiteY649" fmla="*/ 17159 h 51323"/>
                <a:gd name="connsiteX650" fmla="*/ 10667 w 51323"/>
                <a:gd name="connsiteY650" fmla="*/ 17159 h 51323"/>
                <a:gd name="connsiteX651" fmla="*/ 10667 w 51323"/>
                <a:gd name="connsiteY651" fmla="*/ 17159 h 51323"/>
                <a:gd name="connsiteX652" fmla="*/ 10478 w 51323"/>
                <a:gd name="connsiteY652" fmla="*/ 17331 h 51323"/>
                <a:gd name="connsiteX653" fmla="*/ 10478 w 51323"/>
                <a:gd name="connsiteY653" fmla="*/ 17331 h 51323"/>
                <a:gd name="connsiteX654" fmla="*/ 10478 w 51323"/>
                <a:gd name="connsiteY654" fmla="*/ 17331 h 51323"/>
                <a:gd name="connsiteX655" fmla="*/ 10478 w 51323"/>
                <a:gd name="connsiteY655" fmla="*/ 17331 h 51323"/>
                <a:gd name="connsiteX656" fmla="*/ 10083 w 51323"/>
                <a:gd name="connsiteY656" fmla="*/ 18001 h 51323"/>
                <a:gd name="connsiteX657" fmla="*/ 9911 w 51323"/>
                <a:gd name="connsiteY657" fmla="*/ 18087 h 51323"/>
                <a:gd name="connsiteX658" fmla="*/ 9808 w 51323"/>
                <a:gd name="connsiteY658" fmla="*/ 18087 h 51323"/>
                <a:gd name="connsiteX659" fmla="*/ 8743 w 51323"/>
                <a:gd name="connsiteY659" fmla="*/ 18980 h 51323"/>
                <a:gd name="connsiteX660" fmla="*/ 8743 w 51323"/>
                <a:gd name="connsiteY660" fmla="*/ 18980 h 51323"/>
                <a:gd name="connsiteX661" fmla="*/ 8743 w 51323"/>
                <a:gd name="connsiteY661" fmla="*/ 18980 h 51323"/>
                <a:gd name="connsiteX662" fmla="*/ 8743 w 51323"/>
                <a:gd name="connsiteY662" fmla="*/ 18740 h 51323"/>
                <a:gd name="connsiteX663" fmla="*/ 8365 w 51323"/>
                <a:gd name="connsiteY663" fmla="*/ 19495 h 51323"/>
                <a:gd name="connsiteX664" fmla="*/ 8365 w 51323"/>
                <a:gd name="connsiteY664" fmla="*/ 19495 h 51323"/>
                <a:gd name="connsiteX665" fmla="*/ 8262 w 51323"/>
                <a:gd name="connsiteY665" fmla="*/ 19650 h 51323"/>
                <a:gd name="connsiteX666" fmla="*/ 8434 w 51323"/>
                <a:gd name="connsiteY666" fmla="*/ 19341 h 51323"/>
                <a:gd name="connsiteX667" fmla="*/ 8434 w 51323"/>
                <a:gd name="connsiteY667" fmla="*/ 19221 h 51323"/>
                <a:gd name="connsiteX668" fmla="*/ 8434 w 51323"/>
                <a:gd name="connsiteY668" fmla="*/ 19221 h 51323"/>
                <a:gd name="connsiteX669" fmla="*/ 8674 w 51323"/>
                <a:gd name="connsiteY669" fmla="*/ 18671 h 51323"/>
                <a:gd name="connsiteX670" fmla="*/ 8365 w 51323"/>
                <a:gd name="connsiteY670" fmla="*/ 19221 h 51323"/>
                <a:gd name="connsiteX671" fmla="*/ 8365 w 51323"/>
                <a:gd name="connsiteY671" fmla="*/ 18929 h 51323"/>
                <a:gd name="connsiteX672" fmla="*/ 8365 w 51323"/>
                <a:gd name="connsiteY672" fmla="*/ 19324 h 51323"/>
                <a:gd name="connsiteX673" fmla="*/ 8365 w 51323"/>
                <a:gd name="connsiteY673" fmla="*/ 19530 h 51323"/>
                <a:gd name="connsiteX674" fmla="*/ 8365 w 51323"/>
                <a:gd name="connsiteY674" fmla="*/ 19650 h 51323"/>
                <a:gd name="connsiteX675" fmla="*/ 8365 w 51323"/>
                <a:gd name="connsiteY675" fmla="*/ 19513 h 51323"/>
                <a:gd name="connsiteX676" fmla="*/ 8365 w 51323"/>
                <a:gd name="connsiteY676" fmla="*/ 19856 h 51323"/>
                <a:gd name="connsiteX677" fmla="*/ 8365 w 51323"/>
                <a:gd name="connsiteY677" fmla="*/ 19856 h 51323"/>
                <a:gd name="connsiteX678" fmla="*/ 8210 w 51323"/>
                <a:gd name="connsiteY678" fmla="*/ 19976 h 51323"/>
                <a:gd name="connsiteX679" fmla="*/ 8210 w 51323"/>
                <a:gd name="connsiteY679" fmla="*/ 20097 h 51323"/>
                <a:gd name="connsiteX680" fmla="*/ 8313 w 51323"/>
                <a:gd name="connsiteY680" fmla="*/ 20234 h 51323"/>
                <a:gd name="connsiteX681" fmla="*/ 8313 w 51323"/>
                <a:gd name="connsiteY681" fmla="*/ 20131 h 51323"/>
                <a:gd name="connsiteX682" fmla="*/ 8176 w 51323"/>
                <a:gd name="connsiteY682" fmla="*/ 20354 h 51323"/>
                <a:gd name="connsiteX683" fmla="*/ 8176 w 51323"/>
                <a:gd name="connsiteY683" fmla="*/ 20251 h 51323"/>
                <a:gd name="connsiteX684" fmla="*/ 8176 w 51323"/>
                <a:gd name="connsiteY684" fmla="*/ 20251 h 51323"/>
                <a:gd name="connsiteX685" fmla="*/ 8176 w 51323"/>
                <a:gd name="connsiteY685" fmla="*/ 20389 h 51323"/>
                <a:gd name="connsiteX686" fmla="*/ 8176 w 51323"/>
                <a:gd name="connsiteY686" fmla="*/ 20389 h 51323"/>
                <a:gd name="connsiteX687" fmla="*/ 8176 w 51323"/>
                <a:gd name="connsiteY687" fmla="*/ 20389 h 51323"/>
                <a:gd name="connsiteX688" fmla="*/ 8176 w 51323"/>
                <a:gd name="connsiteY688" fmla="*/ 20389 h 51323"/>
                <a:gd name="connsiteX689" fmla="*/ 6579 w 51323"/>
                <a:gd name="connsiteY689" fmla="*/ 22982 h 51323"/>
                <a:gd name="connsiteX690" fmla="*/ 6579 w 51323"/>
                <a:gd name="connsiteY690" fmla="*/ 22982 h 51323"/>
                <a:gd name="connsiteX691" fmla="*/ 6579 w 51323"/>
                <a:gd name="connsiteY691" fmla="*/ 22982 h 51323"/>
                <a:gd name="connsiteX692" fmla="*/ 6579 w 51323"/>
                <a:gd name="connsiteY692" fmla="*/ 22982 h 51323"/>
                <a:gd name="connsiteX693" fmla="*/ 6579 w 51323"/>
                <a:gd name="connsiteY693" fmla="*/ 22604 h 51323"/>
                <a:gd name="connsiteX694" fmla="*/ 6579 w 51323"/>
                <a:gd name="connsiteY694" fmla="*/ 22707 h 51323"/>
                <a:gd name="connsiteX695" fmla="*/ 6579 w 51323"/>
                <a:gd name="connsiteY695" fmla="*/ 21745 h 51323"/>
                <a:gd name="connsiteX696" fmla="*/ 6579 w 51323"/>
                <a:gd name="connsiteY696" fmla="*/ 21745 h 51323"/>
                <a:gd name="connsiteX697" fmla="*/ 6579 w 51323"/>
                <a:gd name="connsiteY697" fmla="*/ 21745 h 51323"/>
                <a:gd name="connsiteX698" fmla="*/ 6579 w 51323"/>
                <a:gd name="connsiteY698" fmla="*/ 21745 h 51323"/>
                <a:gd name="connsiteX699" fmla="*/ 6579 w 51323"/>
                <a:gd name="connsiteY699" fmla="*/ 21642 h 51323"/>
                <a:gd name="connsiteX700" fmla="*/ 6579 w 51323"/>
                <a:gd name="connsiteY700" fmla="*/ 21522 h 51323"/>
                <a:gd name="connsiteX701" fmla="*/ 6579 w 51323"/>
                <a:gd name="connsiteY701" fmla="*/ 21522 h 51323"/>
                <a:gd name="connsiteX702" fmla="*/ 6579 w 51323"/>
                <a:gd name="connsiteY702" fmla="*/ 21385 h 51323"/>
                <a:gd name="connsiteX703" fmla="*/ 6579 w 51323"/>
                <a:gd name="connsiteY703" fmla="*/ 21385 h 51323"/>
                <a:gd name="connsiteX704" fmla="*/ 6579 w 51323"/>
                <a:gd name="connsiteY704" fmla="*/ 21385 h 51323"/>
                <a:gd name="connsiteX705" fmla="*/ 6579 w 51323"/>
                <a:gd name="connsiteY705" fmla="*/ 21385 h 51323"/>
                <a:gd name="connsiteX706" fmla="*/ 6579 w 51323"/>
                <a:gd name="connsiteY706" fmla="*/ 21230 h 51323"/>
                <a:gd name="connsiteX707" fmla="*/ 6579 w 51323"/>
                <a:gd name="connsiteY707" fmla="*/ 21333 h 51323"/>
                <a:gd name="connsiteX708" fmla="*/ 6373 w 51323"/>
                <a:gd name="connsiteY708" fmla="*/ 21453 h 51323"/>
                <a:gd name="connsiteX709" fmla="*/ 6373 w 51323"/>
                <a:gd name="connsiteY709" fmla="*/ 21453 h 51323"/>
                <a:gd name="connsiteX710" fmla="*/ 6373 w 51323"/>
                <a:gd name="connsiteY710" fmla="*/ 21849 h 51323"/>
                <a:gd name="connsiteX711" fmla="*/ 6373 w 51323"/>
                <a:gd name="connsiteY711" fmla="*/ 21763 h 51323"/>
                <a:gd name="connsiteX712" fmla="*/ 6373 w 51323"/>
                <a:gd name="connsiteY712" fmla="*/ 21660 h 51323"/>
                <a:gd name="connsiteX713" fmla="*/ 6373 w 51323"/>
                <a:gd name="connsiteY713" fmla="*/ 21350 h 51323"/>
                <a:gd name="connsiteX714" fmla="*/ 6373 w 51323"/>
                <a:gd name="connsiteY714" fmla="*/ 21350 h 51323"/>
                <a:gd name="connsiteX715" fmla="*/ 6184 w 51323"/>
                <a:gd name="connsiteY715" fmla="*/ 21350 h 51323"/>
                <a:gd name="connsiteX716" fmla="*/ 6184 w 51323"/>
                <a:gd name="connsiteY716" fmla="*/ 21127 h 51323"/>
                <a:gd name="connsiteX717" fmla="*/ 6184 w 51323"/>
                <a:gd name="connsiteY717" fmla="*/ 21127 h 51323"/>
                <a:gd name="connsiteX718" fmla="*/ 6184 w 51323"/>
                <a:gd name="connsiteY718" fmla="*/ 21385 h 51323"/>
                <a:gd name="connsiteX719" fmla="*/ 6184 w 51323"/>
                <a:gd name="connsiteY719" fmla="*/ 21385 h 51323"/>
                <a:gd name="connsiteX720" fmla="*/ 6184 w 51323"/>
                <a:gd name="connsiteY720" fmla="*/ 21505 h 51323"/>
                <a:gd name="connsiteX721" fmla="*/ 6184 w 51323"/>
                <a:gd name="connsiteY721" fmla="*/ 21505 h 51323"/>
                <a:gd name="connsiteX722" fmla="*/ 6184 w 51323"/>
                <a:gd name="connsiteY722" fmla="*/ 21505 h 51323"/>
                <a:gd name="connsiteX723" fmla="*/ 6184 w 51323"/>
                <a:gd name="connsiteY723" fmla="*/ 21505 h 51323"/>
                <a:gd name="connsiteX724" fmla="*/ 6184 w 51323"/>
                <a:gd name="connsiteY724" fmla="*/ 21505 h 51323"/>
                <a:gd name="connsiteX725" fmla="*/ 6184 w 51323"/>
                <a:gd name="connsiteY725" fmla="*/ 21505 h 51323"/>
                <a:gd name="connsiteX726" fmla="*/ 6184 w 51323"/>
                <a:gd name="connsiteY726" fmla="*/ 21608 h 51323"/>
                <a:gd name="connsiteX727" fmla="*/ 6184 w 51323"/>
                <a:gd name="connsiteY727" fmla="*/ 21608 h 51323"/>
                <a:gd name="connsiteX728" fmla="*/ 5943 w 51323"/>
                <a:gd name="connsiteY728" fmla="*/ 22553 h 51323"/>
                <a:gd name="connsiteX729" fmla="*/ 5943 w 51323"/>
                <a:gd name="connsiteY729" fmla="*/ 22398 h 51323"/>
                <a:gd name="connsiteX730" fmla="*/ 5943 w 51323"/>
                <a:gd name="connsiteY730" fmla="*/ 22621 h 51323"/>
                <a:gd name="connsiteX731" fmla="*/ 5703 w 51323"/>
                <a:gd name="connsiteY731" fmla="*/ 24116 h 51323"/>
                <a:gd name="connsiteX732" fmla="*/ 5703 w 51323"/>
                <a:gd name="connsiteY732" fmla="*/ 25507 h 51323"/>
                <a:gd name="connsiteX733" fmla="*/ 5703 w 51323"/>
                <a:gd name="connsiteY733" fmla="*/ 25507 h 51323"/>
                <a:gd name="connsiteX734" fmla="*/ 5703 w 51323"/>
                <a:gd name="connsiteY734" fmla="*/ 25421 h 51323"/>
                <a:gd name="connsiteX735" fmla="*/ 5703 w 51323"/>
                <a:gd name="connsiteY735" fmla="*/ 25421 h 51323"/>
                <a:gd name="connsiteX736" fmla="*/ 5703 w 51323"/>
                <a:gd name="connsiteY736" fmla="*/ 25421 h 51323"/>
                <a:gd name="connsiteX737" fmla="*/ 5703 w 51323"/>
                <a:gd name="connsiteY737" fmla="*/ 25421 h 51323"/>
                <a:gd name="connsiteX738" fmla="*/ 5703 w 51323"/>
                <a:gd name="connsiteY738" fmla="*/ 25627 h 51323"/>
                <a:gd name="connsiteX739" fmla="*/ 5703 w 51323"/>
                <a:gd name="connsiteY739" fmla="*/ 25627 h 51323"/>
                <a:gd name="connsiteX740" fmla="*/ 5703 w 51323"/>
                <a:gd name="connsiteY740" fmla="*/ 25627 h 51323"/>
                <a:gd name="connsiteX741" fmla="*/ 5703 w 51323"/>
                <a:gd name="connsiteY741" fmla="*/ 25404 h 51323"/>
                <a:gd name="connsiteX742" fmla="*/ 5703 w 51323"/>
                <a:gd name="connsiteY742" fmla="*/ 25404 h 51323"/>
                <a:gd name="connsiteX743" fmla="*/ 5995 w 51323"/>
                <a:gd name="connsiteY743" fmla="*/ 24665 h 51323"/>
                <a:gd name="connsiteX744" fmla="*/ 5995 w 51323"/>
                <a:gd name="connsiteY744" fmla="*/ 24665 h 51323"/>
                <a:gd name="connsiteX745" fmla="*/ 5995 w 51323"/>
                <a:gd name="connsiteY745" fmla="*/ 24665 h 51323"/>
                <a:gd name="connsiteX746" fmla="*/ 5995 w 51323"/>
                <a:gd name="connsiteY746" fmla="*/ 24665 h 51323"/>
                <a:gd name="connsiteX747" fmla="*/ 5857 w 51323"/>
                <a:gd name="connsiteY747" fmla="*/ 25593 h 51323"/>
                <a:gd name="connsiteX748" fmla="*/ 5857 w 51323"/>
                <a:gd name="connsiteY748" fmla="*/ 25919 h 51323"/>
                <a:gd name="connsiteX749" fmla="*/ 5101 w 51323"/>
                <a:gd name="connsiteY749" fmla="*/ 26521 h 51323"/>
                <a:gd name="connsiteX750" fmla="*/ 4500 w 51323"/>
                <a:gd name="connsiteY750" fmla="*/ 25765 h 51323"/>
                <a:gd name="connsiteX751" fmla="*/ 4397 w 51323"/>
                <a:gd name="connsiteY751" fmla="*/ 26658 h 51323"/>
                <a:gd name="connsiteX752" fmla="*/ 4397 w 51323"/>
                <a:gd name="connsiteY752" fmla="*/ 26658 h 51323"/>
                <a:gd name="connsiteX753" fmla="*/ 4397 w 51323"/>
                <a:gd name="connsiteY753" fmla="*/ 26864 h 51323"/>
                <a:gd name="connsiteX754" fmla="*/ 4397 w 51323"/>
                <a:gd name="connsiteY754" fmla="*/ 26864 h 51323"/>
                <a:gd name="connsiteX755" fmla="*/ 4397 w 51323"/>
                <a:gd name="connsiteY755" fmla="*/ 26950 h 51323"/>
                <a:gd name="connsiteX756" fmla="*/ 4586 w 51323"/>
                <a:gd name="connsiteY756" fmla="*/ 26950 h 51323"/>
                <a:gd name="connsiteX757" fmla="*/ 4724 w 51323"/>
                <a:gd name="connsiteY757" fmla="*/ 27190 h 51323"/>
                <a:gd name="connsiteX758" fmla="*/ 4724 w 51323"/>
                <a:gd name="connsiteY758" fmla="*/ 27190 h 51323"/>
                <a:gd name="connsiteX759" fmla="*/ 4724 w 51323"/>
                <a:gd name="connsiteY759" fmla="*/ 27345 h 51323"/>
                <a:gd name="connsiteX760" fmla="*/ 4724 w 51323"/>
                <a:gd name="connsiteY760" fmla="*/ 27448 h 51323"/>
                <a:gd name="connsiteX761" fmla="*/ 4724 w 51323"/>
                <a:gd name="connsiteY761" fmla="*/ 27448 h 51323"/>
                <a:gd name="connsiteX762" fmla="*/ 4724 w 51323"/>
                <a:gd name="connsiteY762" fmla="*/ 28152 h 51323"/>
                <a:gd name="connsiteX763" fmla="*/ 4724 w 51323"/>
                <a:gd name="connsiteY763" fmla="*/ 28152 h 51323"/>
                <a:gd name="connsiteX764" fmla="*/ 4724 w 51323"/>
                <a:gd name="connsiteY764" fmla="*/ 28616 h 51323"/>
                <a:gd name="connsiteX765" fmla="*/ 4724 w 51323"/>
                <a:gd name="connsiteY765" fmla="*/ 28444 h 51323"/>
                <a:gd name="connsiteX766" fmla="*/ 4724 w 51323"/>
                <a:gd name="connsiteY766" fmla="*/ 28805 h 51323"/>
                <a:gd name="connsiteX767" fmla="*/ 4724 w 51323"/>
                <a:gd name="connsiteY767" fmla="*/ 28719 h 51323"/>
                <a:gd name="connsiteX768" fmla="*/ 4724 w 51323"/>
                <a:gd name="connsiteY768" fmla="*/ 29149 h 51323"/>
                <a:gd name="connsiteX769" fmla="*/ 4930 w 51323"/>
                <a:gd name="connsiteY769" fmla="*/ 29733 h 51323"/>
                <a:gd name="connsiteX770" fmla="*/ 5634 w 51323"/>
                <a:gd name="connsiteY770" fmla="*/ 30471 h 51323"/>
                <a:gd name="connsiteX771" fmla="*/ 5960 w 51323"/>
                <a:gd name="connsiteY771" fmla="*/ 29595 h 51323"/>
                <a:gd name="connsiteX772" fmla="*/ 5960 w 51323"/>
                <a:gd name="connsiteY772" fmla="*/ 29475 h 51323"/>
                <a:gd name="connsiteX773" fmla="*/ 6355 w 51323"/>
                <a:gd name="connsiteY773" fmla="*/ 29234 h 51323"/>
                <a:gd name="connsiteX774" fmla="*/ 6355 w 51323"/>
                <a:gd name="connsiteY774" fmla="*/ 30145 h 51323"/>
                <a:gd name="connsiteX775" fmla="*/ 6665 w 51323"/>
                <a:gd name="connsiteY775" fmla="*/ 29664 h 51323"/>
                <a:gd name="connsiteX776" fmla="*/ 6665 w 51323"/>
                <a:gd name="connsiteY776" fmla="*/ 29441 h 51323"/>
                <a:gd name="connsiteX777" fmla="*/ 6785 w 51323"/>
                <a:gd name="connsiteY777" fmla="*/ 29733 h 51323"/>
                <a:gd name="connsiteX778" fmla="*/ 7060 w 51323"/>
                <a:gd name="connsiteY778" fmla="*/ 30007 h 51323"/>
                <a:gd name="connsiteX779" fmla="*/ 7472 w 51323"/>
                <a:gd name="connsiteY779" fmla="*/ 30196 h 51323"/>
                <a:gd name="connsiteX780" fmla="*/ 8262 w 51323"/>
                <a:gd name="connsiteY780" fmla="*/ 30402 h 51323"/>
                <a:gd name="connsiteX781" fmla="*/ 8262 w 51323"/>
                <a:gd name="connsiteY781" fmla="*/ 30643 h 51323"/>
                <a:gd name="connsiteX782" fmla="*/ 8434 w 51323"/>
                <a:gd name="connsiteY782" fmla="*/ 31107 h 51323"/>
                <a:gd name="connsiteX783" fmla="*/ 9189 w 51323"/>
                <a:gd name="connsiteY783" fmla="*/ 32000 h 51323"/>
                <a:gd name="connsiteX784" fmla="*/ 9550 w 51323"/>
                <a:gd name="connsiteY784" fmla="*/ 32309 h 51323"/>
                <a:gd name="connsiteX785" fmla="*/ 10220 w 51323"/>
                <a:gd name="connsiteY785" fmla="*/ 32532 h 51323"/>
                <a:gd name="connsiteX786" fmla="*/ 10856 w 51323"/>
                <a:gd name="connsiteY786" fmla="*/ 33151 h 51323"/>
                <a:gd name="connsiteX787" fmla="*/ 11302 w 51323"/>
                <a:gd name="connsiteY787" fmla="*/ 33924 h 51323"/>
                <a:gd name="connsiteX788" fmla="*/ 11045 w 51323"/>
                <a:gd name="connsiteY788" fmla="*/ 34868 h 51323"/>
                <a:gd name="connsiteX789" fmla="*/ 11148 w 51323"/>
                <a:gd name="connsiteY789" fmla="*/ 34868 h 51323"/>
                <a:gd name="connsiteX790" fmla="*/ 11337 w 51323"/>
                <a:gd name="connsiteY790" fmla="*/ 34731 h 51323"/>
                <a:gd name="connsiteX791" fmla="*/ 11337 w 51323"/>
                <a:gd name="connsiteY791" fmla="*/ 34731 h 51323"/>
                <a:gd name="connsiteX792" fmla="*/ 11337 w 51323"/>
                <a:gd name="connsiteY792" fmla="*/ 35092 h 51323"/>
                <a:gd name="connsiteX793" fmla="*/ 11680 w 51323"/>
                <a:gd name="connsiteY793" fmla="*/ 35624 h 51323"/>
                <a:gd name="connsiteX794" fmla="*/ 12419 w 51323"/>
                <a:gd name="connsiteY794" fmla="*/ 35074 h 51323"/>
                <a:gd name="connsiteX795" fmla="*/ 12642 w 51323"/>
                <a:gd name="connsiteY795" fmla="*/ 35263 h 51323"/>
                <a:gd name="connsiteX796" fmla="*/ 12882 w 51323"/>
                <a:gd name="connsiteY796" fmla="*/ 35469 h 51323"/>
                <a:gd name="connsiteX797" fmla="*/ 12968 w 51323"/>
                <a:gd name="connsiteY797" fmla="*/ 35830 h 51323"/>
                <a:gd name="connsiteX798" fmla="*/ 12968 w 51323"/>
                <a:gd name="connsiteY798" fmla="*/ 35710 h 51323"/>
                <a:gd name="connsiteX799" fmla="*/ 12968 w 51323"/>
                <a:gd name="connsiteY799" fmla="*/ 35504 h 51323"/>
                <a:gd name="connsiteX800" fmla="*/ 13363 w 51323"/>
                <a:gd name="connsiteY800" fmla="*/ 35641 h 51323"/>
                <a:gd name="connsiteX801" fmla="*/ 13466 w 51323"/>
                <a:gd name="connsiteY801" fmla="*/ 35744 h 51323"/>
                <a:gd name="connsiteX802" fmla="*/ 13466 w 51323"/>
                <a:gd name="connsiteY802" fmla="*/ 35744 h 51323"/>
                <a:gd name="connsiteX803" fmla="*/ 13466 w 51323"/>
                <a:gd name="connsiteY803" fmla="*/ 35744 h 51323"/>
                <a:gd name="connsiteX804" fmla="*/ 13466 w 51323"/>
                <a:gd name="connsiteY804" fmla="*/ 35744 h 51323"/>
                <a:gd name="connsiteX805" fmla="*/ 14926 w 51323"/>
                <a:gd name="connsiteY805" fmla="*/ 38922 h 51323"/>
                <a:gd name="connsiteX806" fmla="*/ 14926 w 51323"/>
                <a:gd name="connsiteY806" fmla="*/ 38819 h 51323"/>
                <a:gd name="connsiteX807" fmla="*/ 14806 w 51323"/>
                <a:gd name="connsiteY807" fmla="*/ 38819 h 51323"/>
                <a:gd name="connsiteX808" fmla="*/ 14806 w 51323"/>
                <a:gd name="connsiteY808" fmla="*/ 38819 h 51323"/>
                <a:gd name="connsiteX809" fmla="*/ 14806 w 51323"/>
                <a:gd name="connsiteY809" fmla="*/ 41447 h 51323"/>
                <a:gd name="connsiteX810" fmla="*/ 14806 w 51323"/>
                <a:gd name="connsiteY810" fmla="*/ 41447 h 51323"/>
                <a:gd name="connsiteX811" fmla="*/ 14600 w 51323"/>
                <a:gd name="connsiteY811" fmla="*/ 41447 h 51323"/>
                <a:gd name="connsiteX812" fmla="*/ 14600 w 51323"/>
                <a:gd name="connsiteY812" fmla="*/ 41687 h 51323"/>
                <a:gd name="connsiteX813" fmla="*/ 14154 w 51323"/>
                <a:gd name="connsiteY813" fmla="*/ 41962 h 51323"/>
                <a:gd name="connsiteX814" fmla="*/ 14154 w 51323"/>
                <a:gd name="connsiteY814" fmla="*/ 41962 h 51323"/>
                <a:gd name="connsiteX815" fmla="*/ 14154 w 51323"/>
                <a:gd name="connsiteY815" fmla="*/ 42048 h 51323"/>
                <a:gd name="connsiteX816" fmla="*/ 14154 w 51323"/>
                <a:gd name="connsiteY816" fmla="*/ 42048 h 51323"/>
                <a:gd name="connsiteX817" fmla="*/ 14411 w 51323"/>
                <a:gd name="connsiteY817" fmla="*/ 42529 h 51323"/>
                <a:gd name="connsiteX818" fmla="*/ 14411 w 51323"/>
                <a:gd name="connsiteY818" fmla="*/ 43336 h 51323"/>
                <a:gd name="connsiteX819" fmla="*/ 14411 w 51323"/>
                <a:gd name="connsiteY819" fmla="*/ 43250 h 51323"/>
                <a:gd name="connsiteX820" fmla="*/ 14411 w 51323"/>
                <a:gd name="connsiteY820" fmla="*/ 43113 h 51323"/>
                <a:gd name="connsiteX821" fmla="*/ 14171 w 51323"/>
                <a:gd name="connsiteY821" fmla="*/ 42924 h 51323"/>
                <a:gd name="connsiteX822" fmla="*/ 14325 w 51323"/>
                <a:gd name="connsiteY822" fmla="*/ 43113 h 51323"/>
                <a:gd name="connsiteX823" fmla="*/ 14325 w 51323"/>
                <a:gd name="connsiteY823" fmla="*/ 43250 h 51323"/>
                <a:gd name="connsiteX824" fmla="*/ 13844 w 51323"/>
                <a:gd name="connsiteY824" fmla="*/ 43817 h 51323"/>
                <a:gd name="connsiteX825" fmla="*/ 14549 w 51323"/>
                <a:gd name="connsiteY825" fmla="*/ 44418 h 51323"/>
                <a:gd name="connsiteX826" fmla="*/ 14549 w 51323"/>
                <a:gd name="connsiteY826" fmla="*/ 44418 h 51323"/>
                <a:gd name="connsiteX827" fmla="*/ 14755 w 51323"/>
                <a:gd name="connsiteY827" fmla="*/ 44693 h 51323"/>
                <a:gd name="connsiteX828" fmla="*/ 14755 w 51323"/>
                <a:gd name="connsiteY828" fmla="*/ 44693 h 51323"/>
                <a:gd name="connsiteX829" fmla="*/ 14755 w 51323"/>
                <a:gd name="connsiteY829" fmla="*/ 44882 h 51323"/>
                <a:gd name="connsiteX830" fmla="*/ 14291 w 51323"/>
                <a:gd name="connsiteY830" fmla="*/ 44882 h 51323"/>
                <a:gd name="connsiteX831" fmla="*/ 14566 w 51323"/>
                <a:gd name="connsiteY831" fmla="*/ 45123 h 51323"/>
                <a:gd name="connsiteX832" fmla="*/ 14566 w 51323"/>
                <a:gd name="connsiteY832" fmla="*/ 45123 h 51323"/>
                <a:gd name="connsiteX833" fmla="*/ 14463 w 51323"/>
                <a:gd name="connsiteY833" fmla="*/ 45294 h 51323"/>
                <a:gd name="connsiteX834" fmla="*/ 15012 w 51323"/>
                <a:gd name="connsiteY834" fmla="*/ 45707 h 51323"/>
                <a:gd name="connsiteX835" fmla="*/ 15012 w 51323"/>
                <a:gd name="connsiteY835" fmla="*/ 45707 h 51323"/>
                <a:gd name="connsiteX836" fmla="*/ 15012 w 51323"/>
                <a:gd name="connsiteY836" fmla="*/ 45707 h 51323"/>
                <a:gd name="connsiteX837" fmla="*/ 15717 w 51323"/>
                <a:gd name="connsiteY837" fmla="*/ 46359 h 51323"/>
                <a:gd name="connsiteX838" fmla="*/ 15717 w 51323"/>
                <a:gd name="connsiteY838" fmla="*/ 46359 h 51323"/>
                <a:gd name="connsiteX839" fmla="*/ 15717 w 51323"/>
                <a:gd name="connsiteY839" fmla="*/ 46359 h 51323"/>
                <a:gd name="connsiteX840" fmla="*/ 15717 w 51323"/>
                <a:gd name="connsiteY840" fmla="*/ 46359 h 51323"/>
                <a:gd name="connsiteX841" fmla="*/ 16730 w 51323"/>
                <a:gd name="connsiteY841" fmla="*/ 47012 h 51323"/>
                <a:gd name="connsiteX842" fmla="*/ 16730 w 51323"/>
                <a:gd name="connsiteY842" fmla="*/ 47012 h 51323"/>
                <a:gd name="connsiteX843" fmla="*/ 16730 w 51323"/>
                <a:gd name="connsiteY843" fmla="*/ 47012 h 51323"/>
                <a:gd name="connsiteX844" fmla="*/ 16730 w 51323"/>
                <a:gd name="connsiteY844" fmla="*/ 47012 h 51323"/>
                <a:gd name="connsiteX845" fmla="*/ 16885 w 51323"/>
                <a:gd name="connsiteY845" fmla="*/ 47132 h 51323"/>
                <a:gd name="connsiteX846" fmla="*/ 16885 w 51323"/>
                <a:gd name="connsiteY846" fmla="*/ 47132 h 51323"/>
                <a:gd name="connsiteX847" fmla="*/ 17091 w 51323"/>
                <a:gd name="connsiteY847" fmla="*/ 47270 h 51323"/>
                <a:gd name="connsiteX848" fmla="*/ 16988 w 51323"/>
                <a:gd name="connsiteY848" fmla="*/ 47270 h 51323"/>
                <a:gd name="connsiteX849" fmla="*/ 17898 w 51323"/>
                <a:gd name="connsiteY849" fmla="*/ 47751 h 51323"/>
                <a:gd name="connsiteX850" fmla="*/ 17898 w 51323"/>
                <a:gd name="connsiteY850" fmla="*/ 47751 h 51323"/>
                <a:gd name="connsiteX851" fmla="*/ 17898 w 51323"/>
                <a:gd name="connsiteY851" fmla="*/ 47751 h 51323"/>
                <a:gd name="connsiteX852" fmla="*/ 17898 w 51323"/>
                <a:gd name="connsiteY852" fmla="*/ 47751 h 51323"/>
                <a:gd name="connsiteX853" fmla="*/ 18396 w 51323"/>
                <a:gd name="connsiteY853" fmla="*/ 48008 h 51323"/>
                <a:gd name="connsiteX854" fmla="*/ 18173 w 51323"/>
                <a:gd name="connsiteY854" fmla="*/ 48008 h 51323"/>
                <a:gd name="connsiteX855" fmla="*/ 20560 w 51323"/>
                <a:gd name="connsiteY855" fmla="*/ 10117 h 51323"/>
                <a:gd name="connsiteX856" fmla="*/ 20560 w 51323"/>
                <a:gd name="connsiteY856" fmla="*/ 9980 h 51323"/>
                <a:gd name="connsiteX857" fmla="*/ 20286 w 51323"/>
                <a:gd name="connsiteY857" fmla="*/ 10323 h 51323"/>
                <a:gd name="connsiteX858" fmla="*/ 19289 w 51323"/>
                <a:gd name="connsiteY858" fmla="*/ 10907 h 51323"/>
                <a:gd name="connsiteX859" fmla="*/ 19152 w 51323"/>
                <a:gd name="connsiteY859" fmla="*/ 11165 h 51323"/>
                <a:gd name="connsiteX860" fmla="*/ 19152 w 51323"/>
                <a:gd name="connsiteY860" fmla="*/ 11165 h 51323"/>
                <a:gd name="connsiteX861" fmla="*/ 18997 w 51323"/>
                <a:gd name="connsiteY861" fmla="*/ 11165 h 51323"/>
                <a:gd name="connsiteX862" fmla="*/ 18585 w 51323"/>
                <a:gd name="connsiteY862" fmla="*/ 11577 h 51323"/>
                <a:gd name="connsiteX863" fmla="*/ 18259 w 51323"/>
                <a:gd name="connsiteY863" fmla="*/ 11903 h 51323"/>
                <a:gd name="connsiteX864" fmla="*/ 18001 w 51323"/>
                <a:gd name="connsiteY864" fmla="*/ 12109 h 51323"/>
                <a:gd name="connsiteX865" fmla="*/ 17743 w 51323"/>
                <a:gd name="connsiteY865" fmla="*/ 12006 h 51323"/>
                <a:gd name="connsiteX866" fmla="*/ 17503 w 51323"/>
                <a:gd name="connsiteY866" fmla="*/ 11783 h 51323"/>
                <a:gd name="connsiteX867" fmla="*/ 18018 w 51323"/>
                <a:gd name="connsiteY867" fmla="*/ 10461 h 51323"/>
                <a:gd name="connsiteX868" fmla="*/ 18448 w 51323"/>
                <a:gd name="connsiteY868" fmla="*/ 10134 h 51323"/>
                <a:gd name="connsiteX869" fmla="*/ 18448 w 51323"/>
                <a:gd name="connsiteY869" fmla="*/ 9739 h 51323"/>
                <a:gd name="connsiteX870" fmla="*/ 18345 w 51323"/>
                <a:gd name="connsiteY870" fmla="*/ 9739 h 51323"/>
                <a:gd name="connsiteX871" fmla="*/ 18963 w 51323"/>
                <a:gd name="connsiteY871" fmla="*/ 9344 h 51323"/>
                <a:gd name="connsiteX872" fmla="*/ 18774 w 51323"/>
                <a:gd name="connsiteY872" fmla="*/ 9104 h 51323"/>
                <a:gd name="connsiteX873" fmla="*/ 19324 w 51323"/>
                <a:gd name="connsiteY873" fmla="*/ 9104 h 51323"/>
                <a:gd name="connsiteX874" fmla="*/ 19324 w 51323"/>
                <a:gd name="connsiteY874" fmla="*/ 8966 h 51323"/>
                <a:gd name="connsiteX875" fmla="*/ 18946 w 51323"/>
                <a:gd name="connsiteY875" fmla="*/ 8966 h 51323"/>
                <a:gd name="connsiteX876" fmla="*/ 19598 w 51323"/>
                <a:gd name="connsiteY876" fmla="*/ 8674 h 51323"/>
                <a:gd name="connsiteX877" fmla="*/ 19598 w 51323"/>
                <a:gd name="connsiteY877" fmla="*/ 8674 h 51323"/>
                <a:gd name="connsiteX878" fmla="*/ 20182 w 51323"/>
                <a:gd name="connsiteY878" fmla="*/ 8193 h 51323"/>
                <a:gd name="connsiteX879" fmla="*/ 20354 w 51323"/>
                <a:gd name="connsiteY879" fmla="*/ 7953 h 51323"/>
                <a:gd name="connsiteX880" fmla="*/ 20560 w 51323"/>
                <a:gd name="connsiteY880" fmla="*/ 7764 h 51323"/>
                <a:gd name="connsiteX881" fmla="*/ 20681 w 51323"/>
                <a:gd name="connsiteY881" fmla="*/ 7386 h 51323"/>
                <a:gd name="connsiteX882" fmla="*/ 21746 w 51323"/>
                <a:gd name="connsiteY882" fmla="*/ 6338 h 51323"/>
                <a:gd name="connsiteX883" fmla="*/ 22914 w 51323"/>
                <a:gd name="connsiteY883" fmla="*/ 4981 h 51323"/>
                <a:gd name="connsiteX884" fmla="*/ 23326 w 51323"/>
                <a:gd name="connsiteY884" fmla="*/ 4844 h 51323"/>
                <a:gd name="connsiteX885" fmla="*/ 26761 w 51323"/>
                <a:gd name="connsiteY885" fmla="*/ 3693 h 51323"/>
                <a:gd name="connsiteX886" fmla="*/ 26881 w 51323"/>
                <a:gd name="connsiteY886" fmla="*/ 3693 h 51323"/>
                <a:gd name="connsiteX887" fmla="*/ 26607 w 51323"/>
                <a:gd name="connsiteY887" fmla="*/ 3951 h 51323"/>
                <a:gd name="connsiteX888" fmla="*/ 26211 w 51323"/>
                <a:gd name="connsiteY888" fmla="*/ 4208 h 51323"/>
                <a:gd name="connsiteX889" fmla="*/ 26211 w 51323"/>
                <a:gd name="connsiteY889" fmla="*/ 4329 h 51323"/>
                <a:gd name="connsiteX890" fmla="*/ 26074 w 51323"/>
                <a:gd name="connsiteY890" fmla="*/ 4500 h 51323"/>
                <a:gd name="connsiteX891" fmla="*/ 26383 w 51323"/>
                <a:gd name="connsiteY891" fmla="*/ 4621 h 51323"/>
                <a:gd name="connsiteX892" fmla="*/ 26057 w 51323"/>
                <a:gd name="connsiteY892" fmla="*/ 4947 h 51323"/>
                <a:gd name="connsiteX893" fmla="*/ 25301 w 51323"/>
                <a:gd name="connsiteY893" fmla="*/ 6235 h 51323"/>
                <a:gd name="connsiteX894" fmla="*/ 25112 w 51323"/>
                <a:gd name="connsiteY894" fmla="*/ 6373 h 51323"/>
                <a:gd name="connsiteX895" fmla="*/ 25009 w 51323"/>
                <a:gd name="connsiteY895" fmla="*/ 6596 h 51323"/>
                <a:gd name="connsiteX896" fmla="*/ 24751 w 51323"/>
                <a:gd name="connsiteY896" fmla="*/ 6596 h 51323"/>
                <a:gd name="connsiteX897" fmla="*/ 24751 w 51323"/>
                <a:gd name="connsiteY897" fmla="*/ 6768 h 51323"/>
                <a:gd name="connsiteX898" fmla="*/ 24751 w 51323"/>
                <a:gd name="connsiteY898" fmla="*/ 7180 h 51323"/>
                <a:gd name="connsiteX899" fmla="*/ 24442 w 51323"/>
                <a:gd name="connsiteY899" fmla="*/ 7489 h 51323"/>
                <a:gd name="connsiteX900" fmla="*/ 24133 w 51323"/>
                <a:gd name="connsiteY900" fmla="*/ 7489 h 51323"/>
                <a:gd name="connsiteX901" fmla="*/ 23738 w 51323"/>
                <a:gd name="connsiteY901" fmla="*/ 7626 h 51323"/>
                <a:gd name="connsiteX902" fmla="*/ 23738 w 51323"/>
                <a:gd name="connsiteY902" fmla="*/ 7781 h 51323"/>
                <a:gd name="connsiteX903" fmla="*/ 23824 w 51323"/>
                <a:gd name="connsiteY903" fmla="*/ 7987 h 51323"/>
                <a:gd name="connsiteX904" fmla="*/ 23583 w 51323"/>
                <a:gd name="connsiteY904" fmla="*/ 8262 h 51323"/>
                <a:gd name="connsiteX905" fmla="*/ 23137 w 51323"/>
                <a:gd name="connsiteY905" fmla="*/ 8520 h 51323"/>
                <a:gd name="connsiteX906" fmla="*/ 22931 w 51323"/>
                <a:gd name="connsiteY906" fmla="*/ 8726 h 51323"/>
                <a:gd name="connsiteX907" fmla="*/ 22931 w 51323"/>
                <a:gd name="connsiteY907" fmla="*/ 8846 h 51323"/>
                <a:gd name="connsiteX908" fmla="*/ 23446 w 51323"/>
                <a:gd name="connsiteY908" fmla="*/ 9121 h 51323"/>
                <a:gd name="connsiteX909" fmla="*/ 23137 w 51323"/>
                <a:gd name="connsiteY909" fmla="*/ 9275 h 51323"/>
                <a:gd name="connsiteX910" fmla="*/ 21952 w 51323"/>
                <a:gd name="connsiteY910" fmla="*/ 9396 h 51323"/>
                <a:gd name="connsiteX911" fmla="*/ 21831 w 51323"/>
                <a:gd name="connsiteY911" fmla="*/ 9653 h 51323"/>
                <a:gd name="connsiteX912" fmla="*/ 20560 w 51323"/>
                <a:gd name="connsiteY912" fmla="*/ 10117 h 51323"/>
                <a:gd name="connsiteX913" fmla="*/ 23669 w 51323"/>
                <a:gd name="connsiteY913" fmla="*/ 11440 h 51323"/>
                <a:gd name="connsiteX914" fmla="*/ 23412 w 51323"/>
                <a:gd name="connsiteY914" fmla="*/ 11440 h 51323"/>
                <a:gd name="connsiteX915" fmla="*/ 23274 w 51323"/>
                <a:gd name="connsiteY915" fmla="*/ 11319 h 51323"/>
                <a:gd name="connsiteX916" fmla="*/ 23274 w 51323"/>
                <a:gd name="connsiteY916" fmla="*/ 11319 h 51323"/>
                <a:gd name="connsiteX917" fmla="*/ 22965 w 51323"/>
                <a:gd name="connsiteY917" fmla="*/ 11319 h 51323"/>
                <a:gd name="connsiteX918" fmla="*/ 22965 w 51323"/>
                <a:gd name="connsiteY918" fmla="*/ 11319 h 51323"/>
                <a:gd name="connsiteX919" fmla="*/ 22965 w 51323"/>
                <a:gd name="connsiteY919" fmla="*/ 11233 h 51323"/>
                <a:gd name="connsiteX920" fmla="*/ 22965 w 51323"/>
                <a:gd name="connsiteY920" fmla="*/ 11233 h 51323"/>
                <a:gd name="connsiteX921" fmla="*/ 23206 w 51323"/>
                <a:gd name="connsiteY921" fmla="*/ 11148 h 51323"/>
                <a:gd name="connsiteX922" fmla="*/ 23206 w 51323"/>
                <a:gd name="connsiteY922" fmla="*/ 11027 h 51323"/>
                <a:gd name="connsiteX923" fmla="*/ 23206 w 51323"/>
                <a:gd name="connsiteY923" fmla="*/ 10941 h 51323"/>
                <a:gd name="connsiteX924" fmla="*/ 22948 w 51323"/>
                <a:gd name="connsiteY924" fmla="*/ 10821 h 51323"/>
                <a:gd name="connsiteX925" fmla="*/ 23223 w 51323"/>
                <a:gd name="connsiteY925" fmla="*/ 10821 h 51323"/>
                <a:gd name="connsiteX926" fmla="*/ 23412 w 51323"/>
                <a:gd name="connsiteY926" fmla="*/ 10718 h 51323"/>
                <a:gd name="connsiteX927" fmla="*/ 23412 w 51323"/>
                <a:gd name="connsiteY927" fmla="*/ 10718 h 51323"/>
                <a:gd name="connsiteX928" fmla="*/ 23412 w 51323"/>
                <a:gd name="connsiteY928" fmla="*/ 10632 h 51323"/>
                <a:gd name="connsiteX929" fmla="*/ 23412 w 51323"/>
                <a:gd name="connsiteY929" fmla="*/ 10632 h 51323"/>
                <a:gd name="connsiteX930" fmla="*/ 23412 w 51323"/>
                <a:gd name="connsiteY930" fmla="*/ 10632 h 51323"/>
                <a:gd name="connsiteX931" fmla="*/ 23412 w 51323"/>
                <a:gd name="connsiteY931" fmla="*/ 10632 h 51323"/>
                <a:gd name="connsiteX932" fmla="*/ 23291 w 51323"/>
                <a:gd name="connsiteY932" fmla="*/ 10632 h 51323"/>
                <a:gd name="connsiteX933" fmla="*/ 23291 w 51323"/>
                <a:gd name="connsiteY933" fmla="*/ 10632 h 51323"/>
                <a:gd name="connsiteX934" fmla="*/ 23291 w 51323"/>
                <a:gd name="connsiteY934" fmla="*/ 10632 h 51323"/>
                <a:gd name="connsiteX935" fmla="*/ 23291 w 51323"/>
                <a:gd name="connsiteY935" fmla="*/ 10632 h 51323"/>
                <a:gd name="connsiteX936" fmla="*/ 23291 w 51323"/>
                <a:gd name="connsiteY936" fmla="*/ 10632 h 51323"/>
                <a:gd name="connsiteX937" fmla="*/ 23291 w 51323"/>
                <a:gd name="connsiteY937" fmla="*/ 10632 h 51323"/>
                <a:gd name="connsiteX938" fmla="*/ 23291 w 51323"/>
                <a:gd name="connsiteY938" fmla="*/ 10632 h 51323"/>
                <a:gd name="connsiteX939" fmla="*/ 23291 w 51323"/>
                <a:gd name="connsiteY939" fmla="*/ 10478 h 51323"/>
                <a:gd name="connsiteX940" fmla="*/ 23291 w 51323"/>
                <a:gd name="connsiteY940" fmla="*/ 10581 h 51323"/>
                <a:gd name="connsiteX941" fmla="*/ 23291 w 51323"/>
                <a:gd name="connsiteY941" fmla="*/ 10581 h 51323"/>
                <a:gd name="connsiteX942" fmla="*/ 23291 w 51323"/>
                <a:gd name="connsiteY942" fmla="*/ 10581 h 51323"/>
                <a:gd name="connsiteX943" fmla="*/ 23291 w 51323"/>
                <a:gd name="connsiteY943" fmla="*/ 10667 h 51323"/>
                <a:gd name="connsiteX944" fmla="*/ 23291 w 51323"/>
                <a:gd name="connsiteY944" fmla="*/ 10787 h 51323"/>
                <a:gd name="connsiteX945" fmla="*/ 23291 w 51323"/>
                <a:gd name="connsiteY945" fmla="*/ 10873 h 51323"/>
                <a:gd name="connsiteX946" fmla="*/ 23429 w 51323"/>
                <a:gd name="connsiteY946" fmla="*/ 10701 h 51323"/>
                <a:gd name="connsiteX947" fmla="*/ 23601 w 51323"/>
                <a:gd name="connsiteY947" fmla="*/ 10461 h 51323"/>
                <a:gd name="connsiteX948" fmla="*/ 23601 w 51323"/>
                <a:gd name="connsiteY948" fmla="*/ 10598 h 51323"/>
                <a:gd name="connsiteX949" fmla="*/ 23790 w 51323"/>
                <a:gd name="connsiteY949" fmla="*/ 10478 h 51323"/>
                <a:gd name="connsiteX950" fmla="*/ 23790 w 51323"/>
                <a:gd name="connsiteY950" fmla="*/ 10787 h 51323"/>
                <a:gd name="connsiteX951" fmla="*/ 23961 w 51323"/>
                <a:gd name="connsiteY951" fmla="*/ 10512 h 51323"/>
                <a:gd name="connsiteX952" fmla="*/ 24099 w 51323"/>
                <a:gd name="connsiteY952" fmla="*/ 10512 h 51323"/>
                <a:gd name="connsiteX953" fmla="*/ 24322 w 51323"/>
                <a:gd name="connsiteY953" fmla="*/ 10512 h 51323"/>
                <a:gd name="connsiteX954" fmla="*/ 24528 w 51323"/>
                <a:gd name="connsiteY954" fmla="*/ 10512 h 51323"/>
                <a:gd name="connsiteX955" fmla="*/ 24528 w 51323"/>
                <a:gd name="connsiteY955" fmla="*/ 10632 h 51323"/>
                <a:gd name="connsiteX956" fmla="*/ 24528 w 51323"/>
                <a:gd name="connsiteY956" fmla="*/ 10804 h 51323"/>
                <a:gd name="connsiteX957" fmla="*/ 24528 w 51323"/>
                <a:gd name="connsiteY957" fmla="*/ 10804 h 51323"/>
                <a:gd name="connsiteX958" fmla="*/ 24528 w 51323"/>
                <a:gd name="connsiteY958" fmla="*/ 10924 h 51323"/>
                <a:gd name="connsiteX959" fmla="*/ 24528 w 51323"/>
                <a:gd name="connsiteY959" fmla="*/ 11148 h 51323"/>
                <a:gd name="connsiteX960" fmla="*/ 24288 w 51323"/>
                <a:gd name="connsiteY960" fmla="*/ 11148 h 51323"/>
                <a:gd name="connsiteX961" fmla="*/ 23978 w 51323"/>
                <a:gd name="connsiteY961" fmla="*/ 11388 h 51323"/>
                <a:gd name="connsiteX962" fmla="*/ 23978 w 51323"/>
                <a:gd name="connsiteY962" fmla="*/ 11388 h 51323"/>
                <a:gd name="connsiteX963" fmla="*/ 23790 w 51323"/>
                <a:gd name="connsiteY963" fmla="*/ 11388 h 51323"/>
                <a:gd name="connsiteX964" fmla="*/ 23790 w 51323"/>
                <a:gd name="connsiteY964" fmla="*/ 11388 h 51323"/>
                <a:gd name="connsiteX965" fmla="*/ 23669 w 51323"/>
                <a:gd name="connsiteY965" fmla="*/ 11440 h 51323"/>
                <a:gd name="connsiteX966" fmla="*/ 38184 w 51323"/>
                <a:gd name="connsiteY966" fmla="*/ 41533 h 51323"/>
                <a:gd name="connsiteX967" fmla="*/ 38802 w 51323"/>
                <a:gd name="connsiteY967" fmla="*/ 40640 h 51323"/>
                <a:gd name="connsiteX968" fmla="*/ 39540 w 51323"/>
                <a:gd name="connsiteY968" fmla="*/ 39523 h 51323"/>
                <a:gd name="connsiteX969" fmla="*/ 39540 w 51323"/>
                <a:gd name="connsiteY969" fmla="*/ 39523 h 51323"/>
                <a:gd name="connsiteX970" fmla="*/ 39540 w 51323"/>
                <a:gd name="connsiteY970" fmla="*/ 39523 h 51323"/>
                <a:gd name="connsiteX971" fmla="*/ 39781 w 51323"/>
                <a:gd name="connsiteY971" fmla="*/ 39386 h 51323"/>
                <a:gd name="connsiteX972" fmla="*/ 39953 w 51323"/>
                <a:gd name="connsiteY972" fmla="*/ 39386 h 51323"/>
                <a:gd name="connsiteX973" fmla="*/ 39953 w 51323"/>
                <a:gd name="connsiteY973" fmla="*/ 39386 h 51323"/>
                <a:gd name="connsiteX974" fmla="*/ 39953 w 51323"/>
                <a:gd name="connsiteY974" fmla="*/ 39248 h 51323"/>
                <a:gd name="connsiteX975" fmla="*/ 39953 w 51323"/>
                <a:gd name="connsiteY975" fmla="*/ 39248 h 51323"/>
                <a:gd name="connsiteX976" fmla="*/ 39953 w 51323"/>
                <a:gd name="connsiteY976" fmla="*/ 39248 h 51323"/>
                <a:gd name="connsiteX977" fmla="*/ 39953 w 51323"/>
                <a:gd name="connsiteY977" fmla="*/ 39369 h 51323"/>
                <a:gd name="connsiteX978" fmla="*/ 40107 w 51323"/>
                <a:gd name="connsiteY978" fmla="*/ 39266 h 51323"/>
                <a:gd name="connsiteX979" fmla="*/ 40107 w 51323"/>
                <a:gd name="connsiteY979" fmla="*/ 39145 h 51323"/>
                <a:gd name="connsiteX980" fmla="*/ 40107 w 51323"/>
                <a:gd name="connsiteY980" fmla="*/ 39042 h 51323"/>
                <a:gd name="connsiteX981" fmla="*/ 40262 w 51323"/>
                <a:gd name="connsiteY981" fmla="*/ 38939 h 51323"/>
                <a:gd name="connsiteX982" fmla="*/ 40485 w 51323"/>
                <a:gd name="connsiteY982" fmla="*/ 38561 h 51323"/>
                <a:gd name="connsiteX983" fmla="*/ 40674 w 51323"/>
                <a:gd name="connsiteY983" fmla="*/ 38441 h 51323"/>
                <a:gd name="connsiteX984" fmla="*/ 40674 w 51323"/>
                <a:gd name="connsiteY984" fmla="*/ 38664 h 51323"/>
                <a:gd name="connsiteX985" fmla="*/ 38184 w 51323"/>
                <a:gd name="connsiteY985" fmla="*/ 41533 h 51323"/>
                <a:gd name="connsiteX986" fmla="*/ 49159 w 51323"/>
                <a:gd name="connsiteY986" fmla="*/ 26589 h 51323"/>
                <a:gd name="connsiteX987" fmla="*/ 49159 w 51323"/>
                <a:gd name="connsiteY987" fmla="*/ 26589 h 51323"/>
                <a:gd name="connsiteX988" fmla="*/ 48386 w 51323"/>
                <a:gd name="connsiteY988" fmla="*/ 30643 h 51323"/>
                <a:gd name="connsiteX989" fmla="*/ 48215 w 51323"/>
                <a:gd name="connsiteY989" fmla="*/ 30849 h 51323"/>
                <a:gd name="connsiteX990" fmla="*/ 47613 w 51323"/>
                <a:gd name="connsiteY990" fmla="*/ 26452 h 51323"/>
                <a:gd name="connsiteX991" fmla="*/ 47613 w 51323"/>
                <a:gd name="connsiteY991" fmla="*/ 26160 h 51323"/>
                <a:gd name="connsiteX992" fmla="*/ 47528 w 51323"/>
                <a:gd name="connsiteY992" fmla="*/ 26160 h 51323"/>
                <a:gd name="connsiteX993" fmla="*/ 47098 w 51323"/>
                <a:gd name="connsiteY993" fmla="*/ 26606 h 51323"/>
                <a:gd name="connsiteX994" fmla="*/ 46995 w 51323"/>
                <a:gd name="connsiteY994" fmla="*/ 26383 h 51323"/>
                <a:gd name="connsiteX995" fmla="*/ 46995 w 51323"/>
                <a:gd name="connsiteY995" fmla="*/ 26383 h 51323"/>
                <a:gd name="connsiteX996" fmla="*/ 46995 w 51323"/>
                <a:gd name="connsiteY996" fmla="*/ 26383 h 51323"/>
                <a:gd name="connsiteX997" fmla="*/ 47081 w 51323"/>
                <a:gd name="connsiteY997" fmla="*/ 26040 h 51323"/>
                <a:gd name="connsiteX998" fmla="*/ 46806 w 51323"/>
                <a:gd name="connsiteY998" fmla="*/ 25833 h 51323"/>
                <a:gd name="connsiteX999" fmla="*/ 46686 w 51323"/>
                <a:gd name="connsiteY999" fmla="*/ 25971 h 51323"/>
                <a:gd name="connsiteX1000" fmla="*/ 46549 w 51323"/>
                <a:gd name="connsiteY1000" fmla="*/ 25971 h 51323"/>
                <a:gd name="connsiteX1001" fmla="*/ 46428 w 51323"/>
                <a:gd name="connsiteY1001" fmla="*/ 25559 h 51323"/>
                <a:gd name="connsiteX1002" fmla="*/ 46119 w 51323"/>
                <a:gd name="connsiteY1002" fmla="*/ 25438 h 51323"/>
                <a:gd name="connsiteX1003" fmla="*/ 45913 w 51323"/>
                <a:gd name="connsiteY1003" fmla="*/ 25610 h 51323"/>
                <a:gd name="connsiteX1004" fmla="*/ 45741 w 51323"/>
                <a:gd name="connsiteY1004" fmla="*/ 25610 h 51323"/>
                <a:gd name="connsiteX1005" fmla="*/ 45552 w 51323"/>
                <a:gd name="connsiteY1005" fmla="*/ 25765 h 51323"/>
                <a:gd name="connsiteX1006" fmla="*/ 45432 w 51323"/>
                <a:gd name="connsiteY1006" fmla="*/ 25765 h 51323"/>
                <a:gd name="connsiteX1007" fmla="*/ 45209 w 51323"/>
                <a:gd name="connsiteY1007" fmla="*/ 25679 h 51323"/>
                <a:gd name="connsiteX1008" fmla="*/ 44728 w 51323"/>
                <a:gd name="connsiteY1008" fmla="*/ 25679 h 51323"/>
                <a:gd name="connsiteX1009" fmla="*/ 44453 w 51323"/>
                <a:gd name="connsiteY1009" fmla="*/ 25679 h 51323"/>
                <a:gd name="connsiteX1010" fmla="*/ 43663 w 51323"/>
                <a:gd name="connsiteY1010" fmla="*/ 25404 h 51323"/>
                <a:gd name="connsiteX1011" fmla="*/ 43285 w 51323"/>
                <a:gd name="connsiteY1011" fmla="*/ 25146 h 51323"/>
                <a:gd name="connsiteX1012" fmla="*/ 42804 w 51323"/>
                <a:gd name="connsiteY1012" fmla="*/ 24803 h 51323"/>
                <a:gd name="connsiteX1013" fmla="*/ 42804 w 51323"/>
                <a:gd name="connsiteY1013" fmla="*/ 24803 h 51323"/>
                <a:gd name="connsiteX1014" fmla="*/ 42375 w 51323"/>
                <a:gd name="connsiteY1014" fmla="*/ 24425 h 51323"/>
                <a:gd name="connsiteX1015" fmla="*/ 42272 w 51323"/>
                <a:gd name="connsiteY1015" fmla="*/ 24270 h 51323"/>
                <a:gd name="connsiteX1016" fmla="*/ 42272 w 51323"/>
                <a:gd name="connsiteY1016" fmla="*/ 24270 h 51323"/>
                <a:gd name="connsiteX1017" fmla="*/ 42272 w 51323"/>
                <a:gd name="connsiteY1017" fmla="*/ 24270 h 51323"/>
                <a:gd name="connsiteX1018" fmla="*/ 42100 w 51323"/>
                <a:gd name="connsiteY1018" fmla="*/ 24597 h 51323"/>
                <a:gd name="connsiteX1019" fmla="*/ 42220 w 51323"/>
                <a:gd name="connsiteY1019" fmla="*/ 24597 h 51323"/>
                <a:gd name="connsiteX1020" fmla="*/ 42220 w 51323"/>
                <a:gd name="connsiteY1020" fmla="*/ 24597 h 51323"/>
                <a:gd name="connsiteX1021" fmla="*/ 42220 w 51323"/>
                <a:gd name="connsiteY1021" fmla="*/ 24734 h 51323"/>
                <a:gd name="connsiteX1022" fmla="*/ 42220 w 51323"/>
                <a:gd name="connsiteY1022" fmla="*/ 24734 h 51323"/>
                <a:gd name="connsiteX1023" fmla="*/ 42512 w 51323"/>
                <a:gd name="connsiteY1023" fmla="*/ 25112 h 51323"/>
                <a:gd name="connsiteX1024" fmla="*/ 42770 w 51323"/>
                <a:gd name="connsiteY1024" fmla="*/ 25610 h 51323"/>
                <a:gd name="connsiteX1025" fmla="*/ 42770 w 51323"/>
                <a:gd name="connsiteY1025" fmla="*/ 25610 h 51323"/>
                <a:gd name="connsiteX1026" fmla="*/ 43045 w 51323"/>
                <a:gd name="connsiteY1026" fmla="*/ 25782 h 51323"/>
                <a:gd name="connsiteX1027" fmla="*/ 43165 w 51323"/>
                <a:gd name="connsiteY1027" fmla="*/ 25627 h 51323"/>
                <a:gd name="connsiteX1028" fmla="*/ 43165 w 51323"/>
                <a:gd name="connsiteY1028" fmla="*/ 26108 h 51323"/>
                <a:gd name="connsiteX1029" fmla="*/ 43165 w 51323"/>
                <a:gd name="connsiteY1029" fmla="*/ 26211 h 51323"/>
                <a:gd name="connsiteX1030" fmla="*/ 43165 w 51323"/>
                <a:gd name="connsiteY1030" fmla="*/ 26366 h 51323"/>
                <a:gd name="connsiteX1031" fmla="*/ 43766 w 51323"/>
                <a:gd name="connsiteY1031" fmla="*/ 26091 h 51323"/>
                <a:gd name="connsiteX1032" fmla="*/ 43766 w 51323"/>
                <a:gd name="connsiteY1032" fmla="*/ 26091 h 51323"/>
                <a:gd name="connsiteX1033" fmla="*/ 44058 w 51323"/>
                <a:gd name="connsiteY1033" fmla="*/ 25318 h 51323"/>
                <a:gd name="connsiteX1034" fmla="*/ 44058 w 51323"/>
                <a:gd name="connsiteY1034" fmla="*/ 25318 h 51323"/>
                <a:gd name="connsiteX1035" fmla="*/ 44058 w 51323"/>
                <a:gd name="connsiteY1035" fmla="*/ 25215 h 51323"/>
                <a:gd name="connsiteX1036" fmla="*/ 44058 w 51323"/>
                <a:gd name="connsiteY1036" fmla="*/ 25507 h 51323"/>
                <a:gd name="connsiteX1037" fmla="*/ 44642 w 51323"/>
                <a:gd name="connsiteY1037" fmla="*/ 26091 h 51323"/>
                <a:gd name="connsiteX1038" fmla="*/ 44642 w 51323"/>
                <a:gd name="connsiteY1038" fmla="*/ 27311 h 51323"/>
                <a:gd name="connsiteX1039" fmla="*/ 44642 w 51323"/>
                <a:gd name="connsiteY1039" fmla="*/ 27877 h 51323"/>
                <a:gd name="connsiteX1040" fmla="*/ 44109 w 51323"/>
                <a:gd name="connsiteY1040" fmla="*/ 28376 h 51323"/>
                <a:gd name="connsiteX1041" fmla="*/ 44109 w 51323"/>
                <a:gd name="connsiteY1041" fmla="*/ 28719 h 51323"/>
                <a:gd name="connsiteX1042" fmla="*/ 43457 w 51323"/>
                <a:gd name="connsiteY1042" fmla="*/ 29114 h 51323"/>
                <a:gd name="connsiteX1043" fmla="*/ 42684 w 51323"/>
                <a:gd name="connsiteY1043" fmla="*/ 29767 h 51323"/>
                <a:gd name="connsiteX1044" fmla="*/ 42357 w 51323"/>
                <a:gd name="connsiteY1044" fmla="*/ 29990 h 51323"/>
                <a:gd name="connsiteX1045" fmla="*/ 41791 w 51323"/>
                <a:gd name="connsiteY1045" fmla="*/ 30248 h 51323"/>
                <a:gd name="connsiteX1046" fmla="*/ 41172 w 51323"/>
                <a:gd name="connsiteY1046" fmla="*/ 30626 h 51323"/>
                <a:gd name="connsiteX1047" fmla="*/ 40897 w 51323"/>
                <a:gd name="connsiteY1047" fmla="*/ 29629 h 51323"/>
                <a:gd name="connsiteX1048" fmla="*/ 39850 w 51323"/>
                <a:gd name="connsiteY1048" fmla="*/ 27706 h 51323"/>
                <a:gd name="connsiteX1049" fmla="*/ 39283 w 51323"/>
                <a:gd name="connsiteY1049" fmla="*/ 26606 h 51323"/>
                <a:gd name="connsiteX1050" fmla="*/ 38338 w 51323"/>
                <a:gd name="connsiteY1050" fmla="*/ 24751 h 51323"/>
                <a:gd name="connsiteX1051" fmla="*/ 38201 w 51323"/>
                <a:gd name="connsiteY1051" fmla="*/ 25438 h 51323"/>
                <a:gd name="connsiteX1052" fmla="*/ 37548 w 51323"/>
                <a:gd name="connsiteY1052" fmla="*/ 24717 h 51323"/>
                <a:gd name="connsiteX1053" fmla="*/ 38682 w 51323"/>
                <a:gd name="connsiteY1053" fmla="*/ 26692 h 51323"/>
                <a:gd name="connsiteX1054" fmla="*/ 38682 w 51323"/>
                <a:gd name="connsiteY1054" fmla="*/ 26692 h 51323"/>
                <a:gd name="connsiteX1055" fmla="*/ 38819 w 51323"/>
                <a:gd name="connsiteY1055" fmla="*/ 26830 h 51323"/>
                <a:gd name="connsiteX1056" fmla="*/ 38699 w 51323"/>
                <a:gd name="connsiteY1056" fmla="*/ 26830 h 51323"/>
                <a:gd name="connsiteX1057" fmla="*/ 39317 w 51323"/>
                <a:gd name="connsiteY1057" fmla="*/ 27826 h 51323"/>
                <a:gd name="connsiteX1058" fmla="*/ 39317 w 51323"/>
                <a:gd name="connsiteY1058" fmla="*/ 28376 h 51323"/>
                <a:gd name="connsiteX1059" fmla="*/ 39712 w 51323"/>
                <a:gd name="connsiteY1059" fmla="*/ 28891 h 51323"/>
                <a:gd name="connsiteX1060" fmla="*/ 40021 w 51323"/>
                <a:gd name="connsiteY1060" fmla="*/ 29715 h 51323"/>
                <a:gd name="connsiteX1061" fmla="*/ 40021 w 51323"/>
                <a:gd name="connsiteY1061" fmla="*/ 29801 h 51323"/>
                <a:gd name="connsiteX1062" fmla="*/ 40193 w 51323"/>
                <a:gd name="connsiteY1062" fmla="*/ 29939 h 51323"/>
                <a:gd name="connsiteX1063" fmla="*/ 40932 w 51323"/>
                <a:gd name="connsiteY1063" fmla="*/ 30626 h 51323"/>
                <a:gd name="connsiteX1064" fmla="*/ 41035 w 51323"/>
                <a:gd name="connsiteY1064" fmla="*/ 30746 h 51323"/>
                <a:gd name="connsiteX1065" fmla="*/ 40794 w 51323"/>
                <a:gd name="connsiteY1065" fmla="*/ 31038 h 51323"/>
                <a:gd name="connsiteX1066" fmla="*/ 41327 w 51323"/>
                <a:gd name="connsiteY1066" fmla="*/ 31450 h 51323"/>
                <a:gd name="connsiteX1067" fmla="*/ 42770 w 51323"/>
                <a:gd name="connsiteY1067" fmla="*/ 30901 h 51323"/>
                <a:gd name="connsiteX1068" fmla="*/ 42993 w 51323"/>
                <a:gd name="connsiteY1068" fmla="*/ 30660 h 51323"/>
                <a:gd name="connsiteX1069" fmla="*/ 42993 w 51323"/>
                <a:gd name="connsiteY1069" fmla="*/ 31210 h 51323"/>
                <a:gd name="connsiteX1070" fmla="*/ 42993 w 51323"/>
                <a:gd name="connsiteY1070" fmla="*/ 31210 h 51323"/>
                <a:gd name="connsiteX1071" fmla="*/ 38922 w 51323"/>
                <a:gd name="connsiteY1071" fmla="*/ 37033 h 51323"/>
                <a:gd name="connsiteX1072" fmla="*/ 38802 w 51323"/>
                <a:gd name="connsiteY1072" fmla="*/ 37307 h 51323"/>
                <a:gd name="connsiteX1073" fmla="*/ 38802 w 51323"/>
                <a:gd name="connsiteY1073" fmla="*/ 38012 h 51323"/>
                <a:gd name="connsiteX1074" fmla="*/ 38355 w 51323"/>
                <a:gd name="connsiteY1074" fmla="*/ 39248 h 51323"/>
                <a:gd name="connsiteX1075" fmla="*/ 38355 w 51323"/>
                <a:gd name="connsiteY1075" fmla="*/ 39351 h 51323"/>
                <a:gd name="connsiteX1076" fmla="*/ 37119 w 51323"/>
                <a:gd name="connsiteY1076" fmla="*/ 40193 h 51323"/>
                <a:gd name="connsiteX1077" fmla="*/ 37119 w 51323"/>
                <a:gd name="connsiteY1077" fmla="*/ 40193 h 51323"/>
                <a:gd name="connsiteX1078" fmla="*/ 36311 w 51323"/>
                <a:gd name="connsiteY1078" fmla="*/ 40691 h 51323"/>
                <a:gd name="connsiteX1079" fmla="*/ 36311 w 51323"/>
                <a:gd name="connsiteY1079" fmla="*/ 40880 h 51323"/>
                <a:gd name="connsiteX1080" fmla="*/ 36311 w 51323"/>
                <a:gd name="connsiteY1080" fmla="*/ 41035 h 51323"/>
                <a:gd name="connsiteX1081" fmla="*/ 36311 w 51323"/>
                <a:gd name="connsiteY1081" fmla="*/ 41395 h 51323"/>
                <a:gd name="connsiteX1082" fmla="*/ 36311 w 51323"/>
                <a:gd name="connsiteY1082" fmla="*/ 41292 h 51323"/>
                <a:gd name="connsiteX1083" fmla="*/ 36311 w 51323"/>
                <a:gd name="connsiteY1083" fmla="*/ 41292 h 51323"/>
                <a:gd name="connsiteX1084" fmla="*/ 36311 w 51323"/>
                <a:gd name="connsiteY1084" fmla="*/ 41292 h 51323"/>
                <a:gd name="connsiteX1085" fmla="*/ 36054 w 51323"/>
                <a:gd name="connsiteY1085" fmla="*/ 41705 h 51323"/>
                <a:gd name="connsiteX1086" fmla="*/ 36054 w 51323"/>
                <a:gd name="connsiteY1086" fmla="*/ 41705 h 51323"/>
                <a:gd name="connsiteX1087" fmla="*/ 35006 w 51323"/>
                <a:gd name="connsiteY1087" fmla="*/ 42392 h 51323"/>
                <a:gd name="connsiteX1088" fmla="*/ 35126 w 51323"/>
                <a:gd name="connsiteY1088" fmla="*/ 42392 h 51323"/>
                <a:gd name="connsiteX1089" fmla="*/ 34954 w 51323"/>
                <a:gd name="connsiteY1089" fmla="*/ 42598 h 51323"/>
                <a:gd name="connsiteX1090" fmla="*/ 34954 w 51323"/>
                <a:gd name="connsiteY1090" fmla="*/ 42598 h 51323"/>
                <a:gd name="connsiteX1091" fmla="*/ 32051 w 51323"/>
                <a:gd name="connsiteY1091" fmla="*/ 44315 h 51323"/>
                <a:gd name="connsiteX1092" fmla="*/ 30660 w 51323"/>
                <a:gd name="connsiteY1092" fmla="*/ 44418 h 51323"/>
                <a:gd name="connsiteX1093" fmla="*/ 30660 w 51323"/>
                <a:gd name="connsiteY1093" fmla="*/ 44418 h 51323"/>
                <a:gd name="connsiteX1094" fmla="*/ 30660 w 51323"/>
                <a:gd name="connsiteY1094" fmla="*/ 44418 h 51323"/>
                <a:gd name="connsiteX1095" fmla="*/ 30660 w 51323"/>
                <a:gd name="connsiteY1095" fmla="*/ 44092 h 51323"/>
                <a:gd name="connsiteX1096" fmla="*/ 30660 w 51323"/>
                <a:gd name="connsiteY1096" fmla="*/ 43199 h 51323"/>
                <a:gd name="connsiteX1097" fmla="*/ 29836 w 51323"/>
                <a:gd name="connsiteY1097" fmla="*/ 40296 h 51323"/>
                <a:gd name="connsiteX1098" fmla="*/ 30591 w 51323"/>
                <a:gd name="connsiteY1098" fmla="*/ 38046 h 51323"/>
                <a:gd name="connsiteX1099" fmla="*/ 30471 w 51323"/>
                <a:gd name="connsiteY1099" fmla="*/ 37204 h 51323"/>
                <a:gd name="connsiteX1100" fmla="*/ 30574 w 51323"/>
                <a:gd name="connsiteY1100" fmla="*/ 37204 h 51323"/>
                <a:gd name="connsiteX1101" fmla="*/ 30454 w 51323"/>
                <a:gd name="connsiteY1101" fmla="*/ 37050 h 51323"/>
                <a:gd name="connsiteX1102" fmla="*/ 29423 w 51323"/>
                <a:gd name="connsiteY1102" fmla="*/ 35607 h 51323"/>
                <a:gd name="connsiteX1103" fmla="*/ 29630 w 51323"/>
                <a:gd name="connsiteY1103" fmla="*/ 35298 h 51323"/>
                <a:gd name="connsiteX1104" fmla="*/ 29819 w 51323"/>
                <a:gd name="connsiteY1104" fmla="*/ 35298 h 51323"/>
                <a:gd name="connsiteX1105" fmla="*/ 29647 w 51323"/>
                <a:gd name="connsiteY1105" fmla="*/ 35177 h 51323"/>
                <a:gd name="connsiteX1106" fmla="*/ 29647 w 51323"/>
                <a:gd name="connsiteY1106" fmla="*/ 35040 h 51323"/>
                <a:gd name="connsiteX1107" fmla="*/ 29836 w 51323"/>
                <a:gd name="connsiteY1107" fmla="*/ 34095 h 51323"/>
                <a:gd name="connsiteX1108" fmla="*/ 29612 w 51323"/>
                <a:gd name="connsiteY1108" fmla="*/ 33906 h 51323"/>
                <a:gd name="connsiteX1109" fmla="*/ 29423 w 51323"/>
                <a:gd name="connsiteY1109" fmla="*/ 33906 h 51323"/>
                <a:gd name="connsiteX1110" fmla="*/ 28496 w 51323"/>
                <a:gd name="connsiteY1110" fmla="*/ 34044 h 51323"/>
                <a:gd name="connsiteX1111" fmla="*/ 25937 w 51323"/>
                <a:gd name="connsiteY1111" fmla="*/ 33821 h 51323"/>
                <a:gd name="connsiteX1112" fmla="*/ 22501 w 51323"/>
                <a:gd name="connsiteY1112" fmla="*/ 32687 h 51323"/>
                <a:gd name="connsiteX1113" fmla="*/ 22226 w 51323"/>
                <a:gd name="connsiteY1113" fmla="*/ 32361 h 51323"/>
                <a:gd name="connsiteX1114" fmla="*/ 22226 w 51323"/>
                <a:gd name="connsiteY1114" fmla="*/ 32137 h 51323"/>
                <a:gd name="connsiteX1115" fmla="*/ 21986 w 51323"/>
                <a:gd name="connsiteY1115" fmla="*/ 31828 h 51323"/>
                <a:gd name="connsiteX1116" fmla="*/ 21591 w 51323"/>
                <a:gd name="connsiteY1116" fmla="*/ 31536 h 51323"/>
                <a:gd name="connsiteX1117" fmla="*/ 21436 w 51323"/>
                <a:gd name="connsiteY1117" fmla="*/ 31450 h 51323"/>
                <a:gd name="connsiteX1118" fmla="*/ 21436 w 51323"/>
                <a:gd name="connsiteY1118" fmla="*/ 31450 h 51323"/>
                <a:gd name="connsiteX1119" fmla="*/ 21436 w 51323"/>
                <a:gd name="connsiteY1119" fmla="*/ 31450 h 51323"/>
                <a:gd name="connsiteX1120" fmla="*/ 21436 w 51323"/>
                <a:gd name="connsiteY1120" fmla="*/ 31347 h 51323"/>
                <a:gd name="connsiteX1121" fmla="*/ 21642 w 51323"/>
                <a:gd name="connsiteY1121" fmla="*/ 31347 h 51323"/>
                <a:gd name="connsiteX1122" fmla="*/ 21247 w 51323"/>
                <a:gd name="connsiteY1122" fmla="*/ 31158 h 51323"/>
                <a:gd name="connsiteX1123" fmla="*/ 21041 w 51323"/>
                <a:gd name="connsiteY1123" fmla="*/ 30986 h 51323"/>
                <a:gd name="connsiteX1124" fmla="*/ 21213 w 51323"/>
                <a:gd name="connsiteY1124" fmla="*/ 30986 h 51323"/>
                <a:gd name="connsiteX1125" fmla="*/ 21024 w 51323"/>
                <a:gd name="connsiteY1125" fmla="*/ 30986 h 51323"/>
                <a:gd name="connsiteX1126" fmla="*/ 21024 w 51323"/>
                <a:gd name="connsiteY1126" fmla="*/ 30780 h 51323"/>
                <a:gd name="connsiteX1127" fmla="*/ 21299 w 51323"/>
                <a:gd name="connsiteY1127" fmla="*/ 30780 h 51323"/>
                <a:gd name="connsiteX1128" fmla="*/ 21144 w 51323"/>
                <a:gd name="connsiteY1128" fmla="*/ 30626 h 51323"/>
                <a:gd name="connsiteX1129" fmla="*/ 21144 w 51323"/>
                <a:gd name="connsiteY1129" fmla="*/ 30626 h 51323"/>
                <a:gd name="connsiteX1130" fmla="*/ 20921 w 51323"/>
                <a:gd name="connsiteY1130" fmla="*/ 30299 h 51323"/>
                <a:gd name="connsiteX1131" fmla="*/ 21333 w 51323"/>
                <a:gd name="connsiteY1131" fmla="*/ 28582 h 51323"/>
                <a:gd name="connsiteX1132" fmla="*/ 21436 w 51323"/>
                <a:gd name="connsiteY1132" fmla="*/ 28358 h 51323"/>
                <a:gd name="connsiteX1133" fmla="*/ 21247 w 51323"/>
                <a:gd name="connsiteY1133" fmla="*/ 28135 h 51323"/>
                <a:gd name="connsiteX1134" fmla="*/ 21247 w 51323"/>
                <a:gd name="connsiteY1134" fmla="*/ 28221 h 51323"/>
                <a:gd name="connsiteX1135" fmla="*/ 21591 w 51323"/>
                <a:gd name="connsiteY1135" fmla="*/ 27465 h 51323"/>
                <a:gd name="connsiteX1136" fmla="*/ 23927 w 51323"/>
                <a:gd name="connsiteY1136" fmla="*/ 25043 h 51323"/>
                <a:gd name="connsiteX1137" fmla="*/ 23927 w 51323"/>
                <a:gd name="connsiteY1137" fmla="*/ 24562 h 51323"/>
                <a:gd name="connsiteX1138" fmla="*/ 24133 w 51323"/>
                <a:gd name="connsiteY1138" fmla="*/ 24081 h 51323"/>
                <a:gd name="connsiteX1139" fmla="*/ 25473 w 51323"/>
                <a:gd name="connsiteY1139" fmla="*/ 22896 h 51323"/>
                <a:gd name="connsiteX1140" fmla="*/ 26194 w 51323"/>
                <a:gd name="connsiteY1140" fmla="*/ 23102 h 51323"/>
                <a:gd name="connsiteX1141" fmla="*/ 27586 w 51323"/>
                <a:gd name="connsiteY1141" fmla="*/ 22725 h 51323"/>
                <a:gd name="connsiteX1142" fmla="*/ 29063 w 51323"/>
                <a:gd name="connsiteY1142" fmla="*/ 22587 h 51323"/>
                <a:gd name="connsiteX1143" fmla="*/ 29372 w 51323"/>
                <a:gd name="connsiteY1143" fmla="*/ 22587 h 51323"/>
                <a:gd name="connsiteX1144" fmla="*/ 30162 w 51323"/>
                <a:gd name="connsiteY1144" fmla="*/ 22587 h 51323"/>
                <a:gd name="connsiteX1145" fmla="*/ 30385 w 51323"/>
                <a:gd name="connsiteY1145" fmla="*/ 22776 h 51323"/>
                <a:gd name="connsiteX1146" fmla="*/ 30385 w 51323"/>
                <a:gd name="connsiteY1146" fmla="*/ 23017 h 51323"/>
                <a:gd name="connsiteX1147" fmla="*/ 30385 w 51323"/>
                <a:gd name="connsiteY1147" fmla="*/ 23910 h 51323"/>
                <a:gd name="connsiteX1148" fmla="*/ 30506 w 51323"/>
                <a:gd name="connsiteY1148" fmla="*/ 23910 h 51323"/>
                <a:gd name="connsiteX1149" fmla="*/ 30506 w 51323"/>
                <a:gd name="connsiteY1149" fmla="*/ 23910 h 51323"/>
                <a:gd name="connsiteX1150" fmla="*/ 31622 w 51323"/>
                <a:gd name="connsiteY1150" fmla="*/ 24236 h 51323"/>
                <a:gd name="connsiteX1151" fmla="*/ 34473 w 51323"/>
                <a:gd name="connsiteY1151" fmla="*/ 24236 h 51323"/>
                <a:gd name="connsiteX1152" fmla="*/ 36191 w 51323"/>
                <a:gd name="connsiteY1152" fmla="*/ 24700 h 51323"/>
                <a:gd name="connsiteX1153" fmla="*/ 37084 w 51323"/>
                <a:gd name="connsiteY1153" fmla="*/ 24494 h 51323"/>
                <a:gd name="connsiteX1154" fmla="*/ 37187 w 51323"/>
                <a:gd name="connsiteY1154" fmla="*/ 24494 h 51323"/>
                <a:gd name="connsiteX1155" fmla="*/ 37187 w 51323"/>
                <a:gd name="connsiteY1155" fmla="*/ 24494 h 51323"/>
                <a:gd name="connsiteX1156" fmla="*/ 37462 w 51323"/>
                <a:gd name="connsiteY1156" fmla="*/ 24494 h 51323"/>
                <a:gd name="connsiteX1157" fmla="*/ 37565 w 51323"/>
                <a:gd name="connsiteY1157" fmla="*/ 24665 h 51323"/>
                <a:gd name="connsiteX1158" fmla="*/ 37565 w 51323"/>
                <a:gd name="connsiteY1158" fmla="*/ 24494 h 51323"/>
                <a:gd name="connsiteX1159" fmla="*/ 38407 w 51323"/>
                <a:gd name="connsiteY1159" fmla="*/ 22381 h 51323"/>
                <a:gd name="connsiteX1160" fmla="*/ 37840 w 51323"/>
                <a:gd name="connsiteY1160" fmla="*/ 22656 h 51323"/>
                <a:gd name="connsiteX1161" fmla="*/ 36775 w 51323"/>
                <a:gd name="connsiteY1161" fmla="*/ 22656 h 51323"/>
                <a:gd name="connsiteX1162" fmla="*/ 36277 w 51323"/>
                <a:gd name="connsiteY1162" fmla="*/ 22536 h 51323"/>
                <a:gd name="connsiteX1163" fmla="*/ 36140 w 51323"/>
                <a:gd name="connsiteY1163" fmla="*/ 22536 h 51323"/>
                <a:gd name="connsiteX1164" fmla="*/ 35933 w 51323"/>
                <a:gd name="connsiteY1164" fmla="*/ 22536 h 51323"/>
                <a:gd name="connsiteX1165" fmla="*/ 35727 w 51323"/>
                <a:gd name="connsiteY1165" fmla="*/ 22536 h 51323"/>
                <a:gd name="connsiteX1166" fmla="*/ 35951 w 51323"/>
                <a:gd name="connsiteY1166" fmla="*/ 22398 h 51323"/>
                <a:gd name="connsiteX1167" fmla="*/ 35762 w 51323"/>
                <a:gd name="connsiteY1167" fmla="*/ 22398 h 51323"/>
                <a:gd name="connsiteX1168" fmla="*/ 35401 w 51323"/>
                <a:gd name="connsiteY1168" fmla="*/ 22020 h 51323"/>
                <a:gd name="connsiteX1169" fmla="*/ 35401 w 51323"/>
                <a:gd name="connsiteY1169" fmla="*/ 21831 h 51323"/>
                <a:gd name="connsiteX1170" fmla="*/ 35573 w 51323"/>
                <a:gd name="connsiteY1170" fmla="*/ 21831 h 51323"/>
                <a:gd name="connsiteX1171" fmla="*/ 35573 w 51323"/>
                <a:gd name="connsiteY1171" fmla="*/ 21831 h 51323"/>
                <a:gd name="connsiteX1172" fmla="*/ 35676 w 51323"/>
                <a:gd name="connsiteY1172" fmla="*/ 21694 h 51323"/>
                <a:gd name="connsiteX1173" fmla="*/ 35676 w 51323"/>
                <a:gd name="connsiteY1173" fmla="*/ 21488 h 51323"/>
                <a:gd name="connsiteX1174" fmla="*/ 35779 w 51323"/>
                <a:gd name="connsiteY1174" fmla="*/ 21179 h 51323"/>
                <a:gd name="connsiteX1175" fmla="*/ 36225 w 51323"/>
                <a:gd name="connsiteY1175" fmla="*/ 21179 h 51323"/>
                <a:gd name="connsiteX1176" fmla="*/ 36397 w 51323"/>
                <a:gd name="connsiteY1176" fmla="*/ 20990 h 51323"/>
                <a:gd name="connsiteX1177" fmla="*/ 36827 w 51323"/>
                <a:gd name="connsiteY1177" fmla="*/ 20784 h 51323"/>
                <a:gd name="connsiteX1178" fmla="*/ 37788 w 51323"/>
                <a:gd name="connsiteY1178" fmla="*/ 20371 h 51323"/>
                <a:gd name="connsiteX1179" fmla="*/ 38063 w 51323"/>
                <a:gd name="connsiteY1179" fmla="*/ 20371 h 51323"/>
                <a:gd name="connsiteX1180" fmla="*/ 38287 w 51323"/>
                <a:gd name="connsiteY1180" fmla="*/ 20526 h 51323"/>
                <a:gd name="connsiteX1181" fmla="*/ 37857 w 51323"/>
                <a:gd name="connsiteY1181" fmla="*/ 19049 h 51323"/>
                <a:gd name="connsiteX1182" fmla="*/ 37857 w 51323"/>
                <a:gd name="connsiteY1182" fmla="*/ 18911 h 51323"/>
                <a:gd name="connsiteX1183" fmla="*/ 37977 w 51323"/>
                <a:gd name="connsiteY1183" fmla="*/ 18791 h 51323"/>
                <a:gd name="connsiteX1184" fmla="*/ 37977 w 51323"/>
                <a:gd name="connsiteY1184" fmla="*/ 18551 h 51323"/>
                <a:gd name="connsiteX1185" fmla="*/ 37857 w 51323"/>
                <a:gd name="connsiteY1185" fmla="*/ 18448 h 51323"/>
                <a:gd name="connsiteX1186" fmla="*/ 38029 w 51323"/>
                <a:gd name="connsiteY1186" fmla="*/ 18448 h 51323"/>
                <a:gd name="connsiteX1187" fmla="*/ 38132 w 51323"/>
                <a:gd name="connsiteY1187" fmla="*/ 18224 h 51323"/>
                <a:gd name="connsiteX1188" fmla="*/ 37548 w 51323"/>
                <a:gd name="connsiteY1188" fmla="*/ 18499 h 51323"/>
                <a:gd name="connsiteX1189" fmla="*/ 37359 w 51323"/>
                <a:gd name="connsiteY1189" fmla="*/ 18499 h 51323"/>
                <a:gd name="connsiteX1190" fmla="*/ 37204 w 51323"/>
                <a:gd name="connsiteY1190" fmla="*/ 18499 h 51323"/>
                <a:gd name="connsiteX1191" fmla="*/ 37204 w 51323"/>
                <a:gd name="connsiteY1191" fmla="*/ 18705 h 51323"/>
                <a:gd name="connsiteX1192" fmla="*/ 37204 w 51323"/>
                <a:gd name="connsiteY1192" fmla="*/ 18568 h 51323"/>
                <a:gd name="connsiteX1193" fmla="*/ 36878 w 51323"/>
                <a:gd name="connsiteY1193" fmla="*/ 18791 h 51323"/>
                <a:gd name="connsiteX1194" fmla="*/ 37136 w 51323"/>
                <a:gd name="connsiteY1194" fmla="*/ 18946 h 51323"/>
                <a:gd name="connsiteX1195" fmla="*/ 37136 w 51323"/>
                <a:gd name="connsiteY1195" fmla="*/ 18946 h 51323"/>
                <a:gd name="connsiteX1196" fmla="*/ 37325 w 51323"/>
                <a:gd name="connsiteY1196" fmla="*/ 19049 h 51323"/>
                <a:gd name="connsiteX1197" fmla="*/ 37084 w 51323"/>
                <a:gd name="connsiteY1197" fmla="*/ 18705 h 51323"/>
                <a:gd name="connsiteX1198" fmla="*/ 37393 w 51323"/>
                <a:gd name="connsiteY1198" fmla="*/ 19014 h 51323"/>
                <a:gd name="connsiteX1199" fmla="*/ 37514 w 51323"/>
                <a:gd name="connsiteY1199" fmla="*/ 19014 h 51323"/>
                <a:gd name="connsiteX1200" fmla="*/ 37685 w 51323"/>
                <a:gd name="connsiteY1200" fmla="*/ 18929 h 51323"/>
                <a:gd name="connsiteX1201" fmla="*/ 37462 w 51323"/>
                <a:gd name="connsiteY1201" fmla="*/ 19100 h 51323"/>
                <a:gd name="connsiteX1202" fmla="*/ 36912 w 51323"/>
                <a:gd name="connsiteY1202" fmla="*/ 19100 h 51323"/>
                <a:gd name="connsiteX1203" fmla="*/ 36758 w 51323"/>
                <a:gd name="connsiteY1203" fmla="*/ 18860 h 51323"/>
                <a:gd name="connsiteX1204" fmla="*/ 36500 w 51323"/>
                <a:gd name="connsiteY1204" fmla="*/ 18740 h 51323"/>
                <a:gd name="connsiteX1205" fmla="*/ 36380 w 51323"/>
                <a:gd name="connsiteY1205" fmla="*/ 18619 h 51323"/>
                <a:gd name="connsiteX1206" fmla="*/ 36157 w 51323"/>
                <a:gd name="connsiteY1206" fmla="*/ 18619 h 51323"/>
                <a:gd name="connsiteX1207" fmla="*/ 36449 w 51323"/>
                <a:gd name="connsiteY1207" fmla="*/ 18619 h 51323"/>
                <a:gd name="connsiteX1208" fmla="*/ 36260 w 51323"/>
                <a:gd name="connsiteY1208" fmla="*/ 18619 h 51323"/>
                <a:gd name="connsiteX1209" fmla="*/ 36088 w 51323"/>
                <a:gd name="connsiteY1209" fmla="*/ 18740 h 51323"/>
                <a:gd name="connsiteX1210" fmla="*/ 35916 w 51323"/>
                <a:gd name="connsiteY1210" fmla="*/ 18946 h 51323"/>
                <a:gd name="connsiteX1211" fmla="*/ 35796 w 51323"/>
                <a:gd name="connsiteY1211" fmla="*/ 19083 h 51323"/>
                <a:gd name="connsiteX1212" fmla="*/ 35607 w 51323"/>
                <a:gd name="connsiteY1212" fmla="*/ 19598 h 51323"/>
                <a:gd name="connsiteX1213" fmla="*/ 35607 w 51323"/>
                <a:gd name="connsiteY1213" fmla="*/ 19993 h 51323"/>
                <a:gd name="connsiteX1214" fmla="*/ 35470 w 51323"/>
                <a:gd name="connsiteY1214" fmla="*/ 20251 h 51323"/>
                <a:gd name="connsiteX1215" fmla="*/ 35607 w 51323"/>
                <a:gd name="connsiteY1215" fmla="*/ 20698 h 51323"/>
                <a:gd name="connsiteX1216" fmla="*/ 35899 w 51323"/>
                <a:gd name="connsiteY1216" fmla="*/ 20990 h 51323"/>
                <a:gd name="connsiteX1217" fmla="*/ 35212 w 51323"/>
                <a:gd name="connsiteY1217" fmla="*/ 21333 h 51323"/>
                <a:gd name="connsiteX1218" fmla="*/ 35315 w 51323"/>
                <a:gd name="connsiteY1218" fmla="*/ 21144 h 51323"/>
                <a:gd name="connsiteX1219" fmla="*/ 34731 w 51323"/>
                <a:gd name="connsiteY1219" fmla="*/ 21144 h 51323"/>
                <a:gd name="connsiteX1220" fmla="*/ 34491 w 51323"/>
                <a:gd name="connsiteY1220" fmla="*/ 21230 h 51323"/>
                <a:gd name="connsiteX1221" fmla="*/ 34611 w 51323"/>
                <a:gd name="connsiteY1221" fmla="*/ 21385 h 51323"/>
                <a:gd name="connsiteX1222" fmla="*/ 34439 w 51323"/>
                <a:gd name="connsiteY1222" fmla="*/ 21385 h 51323"/>
                <a:gd name="connsiteX1223" fmla="*/ 34439 w 51323"/>
                <a:gd name="connsiteY1223" fmla="*/ 21471 h 51323"/>
                <a:gd name="connsiteX1224" fmla="*/ 34439 w 51323"/>
                <a:gd name="connsiteY1224" fmla="*/ 21471 h 51323"/>
                <a:gd name="connsiteX1225" fmla="*/ 34164 w 51323"/>
                <a:gd name="connsiteY1225" fmla="*/ 21282 h 51323"/>
                <a:gd name="connsiteX1226" fmla="*/ 34164 w 51323"/>
                <a:gd name="connsiteY1226" fmla="*/ 21522 h 51323"/>
                <a:gd name="connsiteX1227" fmla="*/ 34164 w 51323"/>
                <a:gd name="connsiteY1227" fmla="*/ 21728 h 51323"/>
                <a:gd name="connsiteX1228" fmla="*/ 34164 w 51323"/>
                <a:gd name="connsiteY1228" fmla="*/ 21728 h 51323"/>
                <a:gd name="connsiteX1229" fmla="*/ 34164 w 51323"/>
                <a:gd name="connsiteY1229" fmla="*/ 21831 h 51323"/>
                <a:gd name="connsiteX1230" fmla="*/ 34662 w 51323"/>
                <a:gd name="connsiteY1230" fmla="*/ 22295 h 51323"/>
                <a:gd name="connsiteX1231" fmla="*/ 34336 w 51323"/>
                <a:gd name="connsiteY1231" fmla="*/ 22295 h 51323"/>
                <a:gd name="connsiteX1232" fmla="*/ 34456 w 51323"/>
                <a:gd name="connsiteY1232" fmla="*/ 22467 h 51323"/>
                <a:gd name="connsiteX1233" fmla="*/ 34456 w 51323"/>
                <a:gd name="connsiteY1233" fmla="*/ 22467 h 51323"/>
                <a:gd name="connsiteX1234" fmla="*/ 34456 w 51323"/>
                <a:gd name="connsiteY1234" fmla="*/ 22776 h 51323"/>
                <a:gd name="connsiteX1235" fmla="*/ 34250 w 51323"/>
                <a:gd name="connsiteY1235" fmla="*/ 22776 h 51323"/>
                <a:gd name="connsiteX1236" fmla="*/ 34078 w 51323"/>
                <a:gd name="connsiteY1236" fmla="*/ 22518 h 51323"/>
                <a:gd name="connsiteX1237" fmla="*/ 34078 w 51323"/>
                <a:gd name="connsiteY1237" fmla="*/ 22656 h 51323"/>
                <a:gd name="connsiteX1238" fmla="*/ 33975 w 51323"/>
                <a:gd name="connsiteY1238" fmla="*/ 22398 h 51323"/>
                <a:gd name="connsiteX1239" fmla="*/ 33855 w 51323"/>
                <a:gd name="connsiteY1239" fmla="*/ 22089 h 51323"/>
                <a:gd name="connsiteX1240" fmla="*/ 34353 w 51323"/>
                <a:gd name="connsiteY1240" fmla="*/ 22089 h 51323"/>
                <a:gd name="connsiteX1241" fmla="*/ 33958 w 51323"/>
                <a:gd name="connsiteY1241" fmla="*/ 22089 h 51323"/>
                <a:gd name="connsiteX1242" fmla="*/ 33786 w 51323"/>
                <a:gd name="connsiteY1242" fmla="*/ 22089 h 51323"/>
                <a:gd name="connsiteX1243" fmla="*/ 33065 w 51323"/>
                <a:gd name="connsiteY1243" fmla="*/ 21316 h 51323"/>
                <a:gd name="connsiteX1244" fmla="*/ 33065 w 51323"/>
                <a:gd name="connsiteY1244" fmla="*/ 20732 h 51323"/>
                <a:gd name="connsiteX1245" fmla="*/ 32584 w 51323"/>
                <a:gd name="connsiteY1245" fmla="*/ 20320 h 51323"/>
                <a:gd name="connsiteX1246" fmla="*/ 32275 w 51323"/>
                <a:gd name="connsiteY1246" fmla="*/ 20320 h 51323"/>
                <a:gd name="connsiteX1247" fmla="*/ 32395 w 51323"/>
                <a:gd name="connsiteY1247" fmla="*/ 20320 h 51323"/>
                <a:gd name="connsiteX1248" fmla="*/ 31931 w 51323"/>
                <a:gd name="connsiteY1248" fmla="*/ 20131 h 51323"/>
                <a:gd name="connsiteX1249" fmla="*/ 31742 w 51323"/>
                <a:gd name="connsiteY1249" fmla="*/ 19856 h 51323"/>
                <a:gd name="connsiteX1250" fmla="*/ 31175 w 51323"/>
                <a:gd name="connsiteY1250" fmla="*/ 19633 h 51323"/>
                <a:gd name="connsiteX1251" fmla="*/ 31175 w 51323"/>
                <a:gd name="connsiteY1251" fmla="*/ 19306 h 51323"/>
                <a:gd name="connsiteX1252" fmla="*/ 30746 w 51323"/>
                <a:gd name="connsiteY1252" fmla="*/ 19427 h 51323"/>
                <a:gd name="connsiteX1253" fmla="*/ 31656 w 51323"/>
                <a:gd name="connsiteY1253" fmla="*/ 20681 h 51323"/>
                <a:gd name="connsiteX1254" fmla="*/ 31983 w 51323"/>
                <a:gd name="connsiteY1254" fmla="*/ 20887 h 51323"/>
                <a:gd name="connsiteX1255" fmla="*/ 32807 w 51323"/>
                <a:gd name="connsiteY1255" fmla="*/ 21539 h 51323"/>
                <a:gd name="connsiteX1256" fmla="*/ 32532 w 51323"/>
                <a:gd name="connsiteY1256" fmla="*/ 21333 h 51323"/>
                <a:gd name="connsiteX1257" fmla="*/ 32309 w 51323"/>
                <a:gd name="connsiteY1257" fmla="*/ 21625 h 51323"/>
                <a:gd name="connsiteX1258" fmla="*/ 32309 w 51323"/>
                <a:gd name="connsiteY1258" fmla="*/ 22141 h 51323"/>
                <a:gd name="connsiteX1259" fmla="*/ 32086 w 51323"/>
                <a:gd name="connsiteY1259" fmla="*/ 22141 h 51323"/>
                <a:gd name="connsiteX1260" fmla="*/ 31794 w 51323"/>
                <a:gd name="connsiteY1260" fmla="*/ 21402 h 51323"/>
                <a:gd name="connsiteX1261" fmla="*/ 31656 w 51323"/>
                <a:gd name="connsiteY1261" fmla="*/ 21230 h 51323"/>
                <a:gd name="connsiteX1262" fmla="*/ 31330 w 51323"/>
                <a:gd name="connsiteY1262" fmla="*/ 21024 h 51323"/>
                <a:gd name="connsiteX1263" fmla="*/ 29080 w 51323"/>
                <a:gd name="connsiteY1263" fmla="*/ 20217 h 51323"/>
                <a:gd name="connsiteX1264" fmla="*/ 28633 w 51323"/>
                <a:gd name="connsiteY1264" fmla="*/ 20114 h 51323"/>
                <a:gd name="connsiteX1265" fmla="*/ 27448 w 51323"/>
                <a:gd name="connsiteY1265" fmla="*/ 21093 h 51323"/>
                <a:gd name="connsiteX1266" fmla="*/ 27448 w 51323"/>
                <a:gd name="connsiteY1266" fmla="*/ 21213 h 51323"/>
                <a:gd name="connsiteX1267" fmla="*/ 27191 w 51323"/>
                <a:gd name="connsiteY1267" fmla="*/ 22003 h 51323"/>
                <a:gd name="connsiteX1268" fmla="*/ 26847 w 51323"/>
                <a:gd name="connsiteY1268" fmla="*/ 22398 h 51323"/>
                <a:gd name="connsiteX1269" fmla="*/ 25421 w 51323"/>
                <a:gd name="connsiteY1269" fmla="*/ 22896 h 51323"/>
                <a:gd name="connsiteX1270" fmla="*/ 24700 w 51323"/>
                <a:gd name="connsiteY1270" fmla="*/ 22501 h 51323"/>
                <a:gd name="connsiteX1271" fmla="*/ 24408 w 51323"/>
                <a:gd name="connsiteY1271" fmla="*/ 22501 h 51323"/>
                <a:gd name="connsiteX1272" fmla="*/ 24511 w 51323"/>
                <a:gd name="connsiteY1272" fmla="*/ 21934 h 51323"/>
                <a:gd name="connsiteX1273" fmla="*/ 24511 w 51323"/>
                <a:gd name="connsiteY1273" fmla="*/ 21763 h 51323"/>
                <a:gd name="connsiteX1274" fmla="*/ 24631 w 51323"/>
                <a:gd name="connsiteY1274" fmla="*/ 21144 h 51323"/>
                <a:gd name="connsiteX1275" fmla="*/ 24734 w 51323"/>
                <a:gd name="connsiteY1275" fmla="*/ 20457 h 51323"/>
                <a:gd name="connsiteX1276" fmla="*/ 24734 w 51323"/>
                <a:gd name="connsiteY1276" fmla="*/ 20457 h 51323"/>
                <a:gd name="connsiteX1277" fmla="*/ 24734 w 51323"/>
                <a:gd name="connsiteY1277" fmla="*/ 20337 h 51323"/>
                <a:gd name="connsiteX1278" fmla="*/ 24734 w 51323"/>
                <a:gd name="connsiteY1278" fmla="*/ 20234 h 51323"/>
                <a:gd name="connsiteX1279" fmla="*/ 25026 w 51323"/>
                <a:gd name="connsiteY1279" fmla="*/ 20045 h 51323"/>
                <a:gd name="connsiteX1280" fmla="*/ 25490 w 51323"/>
                <a:gd name="connsiteY1280" fmla="*/ 20045 h 51323"/>
                <a:gd name="connsiteX1281" fmla="*/ 26607 w 51323"/>
                <a:gd name="connsiteY1281" fmla="*/ 20131 h 51323"/>
                <a:gd name="connsiteX1282" fmla="*/ 27276 w 51323"/>
                <a:gd name="connsiteY1282" fmla="*/ 19564 h 51323"/>
                <a:gd name="connsiteX1283" fmla="*/ 27053 w 51323"/>
                <a:gd name="connsiteY1283" fmla="*/ 19289 h 51323"/>
                <a:gd name="connsiteX1284" fmla="*/ 26813 w 51323"/>
                <a:gd name="connsiteY1284" fmla="*/ 18860 h 51323"/>
                <a:gd name="connsiteX1285" fmla="*/ 26950 w 51323"/>
                <a:gd name="connsiteY1285" fmla="*/ 18722 h 51323"/>
                <a:gd name="connsiteX1286" fmla="*/ 26727 w 51323"/>
                <a:gd name="connsiteY1286" fmla="*/ 18551 h 51323"/>
                <a:gd name="connsiteX1287" fmla="*/ 26229 w 51323"/>
                <a:gd name="connsiteY1287" fmla="*/ 18465 h 51323"/>
                <a:gd name="connsiteX1288" fmla="*/ 26229 w 51323"/>
                <a:gd name="connsiteY1288" fmla="*/ 18345 h 51323"/>
                <a:gd name="connsiteX1289" fmla="*/ 26229 w 51323"/>
                <a:gd name="connsiteY1289" fmla="*/ 18345 h 51323"/>
                <a:gd name="connsiteX1290" fmla="*/ 26229 w 51323"/>
                <a:gd name="connsiteY1290" fmla="*/ 18345 h 51323"/>
                <a:gd name="connsiteX1291" fmla="*/ 26555 w 51323"/>
                <a:gd name="connsiteY1291" fmla="*/ 18121 h 51323"/>
                <a:gd name="connsiteX1292" fmla="*/ 27019 w 51323"/>
                <a:gd name="connsiteY1292" fmla="*/ 18241 h 51323"/>
                <a:gd name="connsiteX1293" fmla="*/ 26899 w 51323"/>
                <a:gd name="connsiteY1293" fmla="*/ 17812 h 51323"/>
                <a:gd name="connsiteX1294" fmla="*/ 27105 w 51323"/>
                <a:gd name="connsiteY1294" fmla="*/ 17812 h 51323"/>
                <a:gd name="connsiteX1295" fmla="*/ 27500 w 51323"/>
                <a:gd name="connsiteY1295" fmla="*/ 17812 h 51323"/>
                <a:gd name="connsiteX1296" fmla="*/ 27775 w 51323"/>
                <a:gd name="connsiteY1296" fmla="*/ 17606 h 51323"/>
                <a:gd name="connsiteX1297" fmla="*/ 27895 w 51323"/>
                <a:gd name="connsiteY1297" fmla="*/ 17280 h 51323"/>
                <a:gd name="connsiteX1298" fmla="*/ 28444 w 51323"/>
                <a:gd name="connsiteY1298" fmla="*/ 17125 h 51323"/>
                <a:gd name="connsiteX1299" fmla="*/ 28444 w 51323"/>
                <a:gd name="connsiteY1299" fmla="*/ 17125 h 51323"/>
                <a:gd name="connsiteX1300" fmla="*/ 28547 w 51323"/>
                <a:gd name="connsiteY1300" fmla="*/ 17022 h 51323"/>
                <a:gd name="connsiteX1301" fmla="*/ 29286 w 51323"/>
                <a:gd name="connsiteY1301" fmla="*/ 16438 h 51323"/>
                <a:gd name="connsiteX1302" fmla="*/ 29458 w 51323"/>
                <a:gd name="connsiteY1302" fmla="*/ 16438 h 51323"/>
                <a:gd name="connsiteX1303" fmla="*/ 29595 w 51323"/>
                <a:gd name="connsiteY1303" fmla="*/ 16438 h 51323"/>
                <a:gd name="connsiteX1304" fmla="*/ 29956 w 51323"/>
                <a:gd name="connsiteY1304" fmla="*/ 16301 h 51323"/>
                <a:gd name="connsiteX1305" fmla="*/ 29389 w 51323"/>
                <a:gd name="connsiteY1305" fmla="*/ 15115 h 51323"/>
                <a:gd name="connsiteX1306" fmla="*/ 29664 w 51323"/>
                <a:gd name="connsiteY1306" fmla="*/ 15115 h 51323"/>
                <a:gd name="connsiteX1307" fmla="*/ 30025 w 51323"/>
                <a:gd name="connsiteY1307" fmla="*/ 15115 h 51323"/>
                <a:gd name="connsiteX1308" fmla="*/ 29922 w 51323"/>
                <a:gd name="connsiteY1308" fmla="*/ 16009 h 51323"/>
                <a:gd name="connsiteX1309" fmla="*/ 30059 w 51323"/>
                <a:gd name="connsiteY1309" fmla="*/ 16094 h 51323"/>
                <a:gd name="connsiteX1310" fmla="*/ 30883 w 51323"/>
                <a:gd name="connsiteY1310" fmla="*/ 16094 h 51323"/>
                <a:gd name="connsiteX1311" fmla="*/ 32103 w 51323"/>
                <a:gd name="connsiteY1311" fmla="*/ 15768 h 51323"/>
                <a:gd name="connsiteX1312" fmla="*/ 32326 w 51323"/>
                <a:gd name="connsiteY1312" fmla="*/ 15768 h 51323"/>
                <a:gd name="connsiteX1313" fmla="*/ 32189 w 51323"/>
                <a:gd name="connsiteY1313" fmla="*/ 15905 h 51323"/>
                <a:gd name="connsiteX1314" fmla="*/ 32704 w 51323"/>
                <a:gd name="connsiteY1314" fmla="*/ 14497 h 51323"/>
                <a:gd name="connsiteX1315" fmla="*/ 33031 w 51323"/>
                <a:gd name="connsiteY1315" fmla="*/ 14222 h 51323"/>
                <a:gd name="connsiteX1316" fmla="*/ 32842 w 51323"/>
                <a:gd name="connsiteY1316" fmla="*/ 14068 h 51323"/>
                <a:gd name="connsiteX1317" fmla="*/ 32842 w 51323"/>
                <a:gd name="connsiteY1317" fmla="*/ 13690 h 51323"/>
                <a:gd name="connsiteX1318" fmla="*/ 32979 w 51323"/>
                <a:gd name="connsiteY1318" fmla="*/ 13690 h 51323"/>
                <a:gd name="connsiteX1319" fmla="*/ 33615 w 51323"/>
                <a:gd name="connsiteY1319" fmla="*/ 13793 h 51323"/>
                <a:gd name="connsiteX1320" fmla="*/ 33752 w 51323"/>
                <a:gd name="connsiteY1320" fmla="*/ 13466 h 51323"/>
                <a:gd name="connsiteX1321" fmla="*/ 33546 w 51323"/>
                <a:gd name="connsiteY1321" fmla="*/ 13192 h 51323"/>
                <a:gd name="connsiteX1322" fmla="*/ 33408 w 51323"/>
                <a:gd name="connsiteY1322" fmla="*/ 13192 h 51323"/>
                <a:gd name="connsiteX1323" fmla="*/ 33031 w 51323"/>
                <a:gd name="connsiteY1323" fmla="*/ 13312 h 51323"/>
                <a:gd name="connsiteX1324" fmla="*/ 33031 w 51323"/>
                <a:gd name="connsiteY1324" fmla="*/ 13312 h 51323"/>
                <a:gd name="connsiteX1325" fmla="*/ 33031 w 51323"/>
                <a:gd name="connsiteY1325" fmla="*/ 13312 h 51323"/>
                <a:gd name="connsiteX1326" fmla="*/ 32567 w 51323"/>
                <a:gd name="connsiteY1326" fmla="*/ 13621 h 51323"/>
                <a:gd name="connsiteX1327" fmla="*/ 32172 w 51323"/>
                <a:gd name="connsiteY1327" fmla="*/ 13260 h 51323"/>
                <a:gd name="connsiteX1328" fmla="*/ 31914 w 51323"/>
                <a:gd name="connsiteY1328" fmla="*/ 12058 h 51323"/>
                <a:gd name="connsiteX1329" fmla="*/ 32017 w 51323"/>
                <a:gd name="connsiteY1329" fmla="*/ 12058 h 51323"/>
                <a:gd name="connsiteX1330" fmla="*/ 32017 w 51323"/>
                <a:gd name="connsiteY1330" fmla="*/ 11817 h 51323"/>
                <a:gd name="connsiteX1331" fmla="*/ 32309 w 51323"/>
                <a:gd name="connsiteY1331" fmla="*/ 11457 h 51323"/>
                <a:gd name="connsiteX1332" fmla="*/ 31502 w 51323"/>
                <a:gd name="connsiteY1332" fmla="*/ 11182 h 51323"/>
                <a:gd name="connsiteX1333" fmla="*/ 31656 w 51323"/>
                <a:gd name="connsiteY1333" fmla="*/ 11714 h 51323"/>
                <a:gd name="connsiteX1334" fmla="*/ 31038 w 51323"/>
                <a:gd name="connsiteY1334" fmla="*/ 12590 h 51323"/>
                <a:gd name="connsiteX1335" fmla="*/ 31175 w 51323"/>
                <a:gd name="connsiteY1335" fmla="*/ 12968 h 51323"/>
                <a:gd name="connsiteX1336" fmla="*/ 31382 w 51323"/>
                <a:gd name="connsiteY1336" fmla="*/ 13793 h 51323"/>
                <a:gd name="connsiteX1337" fmla="*/ 31210 w 51323"/>
                <a:gd name="connsiteY1337" fmla="*/ 13913 h 51323"/>
                <a:gd name="connsiteX1338" fmla="*/ 31485 w 51323"/>
                <a:gd name="connsiteY1338" fmla="*/ 14050 h 51323"/>
                <a:gd name="connsiteX1339" fmla="*/ 31364 w 51323"/>
                <a:gd name="connsiteY1339" fmla="*/ 14188 h 51323"/>
                <a:gd name="connsiteX1340" fmla="*/ 31364 w 51323"/>
                <a:gd name="connsiteY1340" fmla="*/ 14342 h 51323"/>
                <a:gd name="connsiteX1341" fmla="*/ 31364 w 51323"/>
                <a:gd name="connsiteY1341" fmla="*/ 14514 h 51323"/>
                <a:gd name="connsiteX1342" fmla="*/ 31090 w 51323"/>
                <a:gd name="connsiteY1342" fmla="*/ 15236 h 51323"/>
                <a:gd name="connsiteX1343" fmla="*/ 30162 w 51323"/>
                <a:gd name="connsiteY1343" fmla="*/ 14050 h 51323"/>
                <a:gd name="connsiteX1344" fmla="*/ 29939 w 51323"/>
                <a:gd name="connsiteY1344" fmla="*/ 13810 h 51323"/>
                <a:gd name="connsiteX1345" fmla="*/ 29939 w 51323"/>
                <a:gd name="connsiteY1345" fmla="*/ 14102 h 51323"/>
                <a:gd name="connsiteX1346" fmla="*/ 29733 w 51323"/>
                <a:gd name="connsiteY1346" fmla="*/ 13965 h 51323"/>
                <a:gd name="connsiteX1347" fmla="*/ 29595 w 51323"/>
                <a:gd name="connsiteY1347" fmla="*/ 14291 h 51323"/>
                <a:gd name="connsiteX1348" fmla="*/ 29183 w 51323"/>
                <a:gd name="connsiteY1348" fmla="*/ 14428 h 51323"/>
                <a:gd name="connsiteX1349" fmla="*/ 29183 w 51323"/>
                <a:gd name="connsiteY1349" fmla="*/ 14102 h 51323"/>
                <a:gd name="connsiteX1350" fmla="*/ 29011 w 51323"/>
                <a:gd name="connsiteY1350" fmla="*/ 13879 h 51323"/>
                <a:gd name="connsiteX1351" fmla="*/ 29011 w 51323"/>
                <a:gd name="connsiteY1351" fmla="*/ 13879 h 51323"/>
                <a:gd name="connsiteX1352" fmla="*/ 29166 w 51323"/>
                <a:gd name="connsiteY1352" fmla="*/ 13776 h 51323"/>
                <a:gd name="connsiteX1353" fmla="*/ 29166 w 51323"/>
                <a:gd name="connsiteY1353" fmla="*/ 13655 h 51323"/>
                <a:gd name="connsiteX1354" fmla="*/ 29164 w 51323"/>
                <a:gd name="connsiteY1354" fmla="*/ 13485 h 51323"/>
                <a:gd name="connsiteX1355" fmla="*/ 29166 w 51323"/>
                <a:gd name="connsiteY1355" fmla="*/ 13484 h 51323"/>
                <a:gd name="connsiteX1356" fmla="*/ 28943 w 51323"/>
                <a:gd name="connsiteY1356" fmla="*/ 13484 h 51323"/>
                <a:gd name="connsiteX1357" fmla="*/ 28943 w 51323"/>
                <a:gd name="connsiteY1357" fmla="*/ 13381 h 51323"/>
                <a:gd name="connsiteX1358" fmla="*/ 29355 w 51323"/>
                <a:gd name="connsiteY1358" fmla="*/ 13157 h 51323"/>
                <a:gd name="connsiteX1359" fmla="*/ 28994 w 51323"/>
                <a:gd name="connsiteY1359" fmla="*/ 13157 h 51323"/>
                <a:gd name="connsiteX1360" fmla="*/ 29183 w 51323"/>
                <a:gd name="connsiteY1360" fmla="*/ 13020 h 51323"/>
                <a:gd name="connsiteX1361" fmla="*/ 29046 w 51323"/>
                <a:gd name="connsiteY1361" fmla="*/ 12917 h 51323"/>
                <a:gd name="connsiteX1362" fmla="*/ 29183 w 51323"/>
                <a:gd name="connsiteY1362" fmla="*/ 12917 h 51323"/>
                <a:gd name="connsiteX1363" fmla="*/ 29183 w 51323"/>
                <a:gd name="connsiteY1363" fmla="*/ 12797 h 51323"/>
                <a:gd name="connsiteX1364" fmla="*/ 29441 w 51323"/>
                <a:gd name="connsiteY1364" fmla="*/ 12797 h 51323"/>
                <a:gd name="connsiteX1365" fmla="*/ 29578 w 51323"/>
                <a:gd name="connsiteY1365" fmla="*/ 12797 h 51323"/>
                <a:gd name="connsiteX1366" fmla="*/ 29578 w 51323"/>
                <a:gd name="connsiteY1366" fmla="*/ 12676 h 51323"/>
                <a:gd name="connsiteX1367" fmla="*/ 29767 w 51323"/>
                <a:gd name="connsiteY1367" fmla="*/ 12676 h 51323"/>
                <a:gd name="connsiteX1368" fmla="*/ 30059 w 51323"/>
                <a:gd name="connsiteY1368" fmla="*/ 12298 h 51323"/>
                <a:gd name="connsiteX1369" fmla="*/ 29801 w 51323"/>
                <a:gd name="connsiteY1369" fmla="*/ 12419 h 51323"/>
                <a:gd name="connsiteX1370" fmla="*/ 29801 w 51323"/>
                <a:gd name="connsiteY1370" fmla="*/ 12195 h 51323"/>
                <a:gd name="connsiteX1371" fmla="*/ 30145 w 51323"/>
                <a:gd name="connsiteY1371" fmla="*/ 11766 h 51323"/>
                <a:gd name="connsiteX1372" fmla="*/ 30145 w 51323"/>
                <a:gd name="connsiteY1372" fmla="*/ 11611 h 51323"/>
                <a:gd name="connsiteX1373" fmla="*/ 30145 w 51323"/>
                <a:gd name="connsiteY1373" fmla="*/ 11525 h 51323"/>
                <a:gd name="connsiteX1374" fmla="*/ 30145 w 51323"/>
                <a:gd name="connsiteY1374" fmla="*/ 11337 h 51323"/>
                <a:gd name="connsiteX1375" fmla="*/ 30025 w 51323"/>
                <a:gd name="connsiteY1375" fmla="*/ 11148 h 51323"/>
                <a:gd name="connsiteX1376" fmla="*/ 30334 w 51323"/>
                <a:gd name="connsiteY1376" fmla="*/ 10976 h 51323"/>
                <a:gd name="connsiteX1377" fmla="*/ 30334 w 51323"/>
                <a:gd name="connsiteY1377" fmla="*/ 10838 h 51323"/>
                <a:gd name="connsiteX1378" fmla="*/ 30334 w 51323"/>
                <a:gd name="connsiteY1378" fmla="*/ 10684 h 51323"/>
                <a:gd name="connsiteX1379" fmla="*/ 30334 w 51323"/>
                <a:gd name="connsiteY1379" fmla="*/ 10478 h 51323"/>
                <a:gd name="connsiteX1380" fmla="*/ 30506 w 51323"/>
                <a:gd name="connsiteY1380" fmla="*/ 10478 h 51323"/>
                <a:gd name="connsiteX1381" fmla="*/ 30506 w 51323"/>
                <a:gd name="connsiteY1381" fmla="*/ 10323 h 51323"/>
                <a:gd name="connsiteX1382" fmla="*/ 30506 w 51323"/>
                <a:gd name="connsiteY1382" fmla="*/ 10220 h 51323"/>
                <a:gd name="connsiteX1383" fmla="*/ 30609 w 51323"/>
                <a:gd name="connsiteY1383" fmla="*/ 10117 h 51323"/>
                <a:gd name="connsiteX1384" fmla="*/ 30609 w 51323"/>
                <a:gd name="connsiteY1384" fmla="*/ 10117 h 51323"/>
                <a:gd name="connsiteX1385" fmla="*/ 30609 w 51323"/>
                <a:gd name="connsiteY1385" fmla="*/ 10117 h 51323"/>
                <a:gd name="connsiteX1386" fmla="*/ 30609 w 51323"/>
                <a:gd name="connsiteY1386" fmla="*/ 10117 h 51323"/>
                <a:gd name="connsiteX1387" fmla="*/ 30798 w 51323"/>
                <a:gd name="connsiteY1387" fmla="*/ 10117 h 51323"/>
                <a:gd name="connsiteX1388" fmla="*/ 30798 w 51323"/>
                <a:gd name="connsiteY1388" fmla="*/ 9739 h 51323"/>
                <a:gd name="connsiteX1389" fmla="*/ 31124 w 51323"/>
                <a:gd name="connsiteY1389" fmla="*/ 9894 h 51323"/>
                <a:gd name="connsiteX1390" fmla="*/ 31124 w 51323"/>
                <a:gd name="connsiteY1390" fmla="*/ 9619 h 51323"/>
                <a:gd name="connsiteX1391" fmla="*/ 31124 w 51323"/>
                <a:gd name="connsiteY1391" fmla="*/ 9619 h 51323"/>
                <a:gd name="connsiteX1392" fmla="*/ 31124 w 51323"/>
                <a:gd name="connsiteY1392" fmla="*/ 9619 h 51323"/>
                <a:gd name="connsiteX1393" fmla="*/ 31261 w 51323"/>
                <a:gd name="connsiteY1393" fmla="*/ 9619 h 51323"/>
                <a:gd name="connsiteX1394" fmla="*/ 31450 w 51323"/>
                <a:gd name="connsiteY1394" fmla="*/ 9499 h 51323"/>
                <a:gd name="connsiteX1395" fmla="*/ 31553 w 51323"/>
                <a:gd name="connsiteY1395" fmla="*/ 9842 h 51323"/>
                <a:gd name="connsiteX1396" fmla="*/ 31674 w 51323"/>
                <a:gd name="connsiteY1396" fmla="*/ 9842 h 51323"/>
                <a:gd name="connsiteX1397" fmla="*/ 31845 w 51323"/>
                <a:gd name="connsiteY1397" fmla="*/ 9842 h 51323"/>
                <a:gd name="connsiteX1398" fmla="*/ 31742 w 51323"/>
                <a:gd name="connsiteY1398" fmla="*/ 10031 h 51323"/>
                <a:gd name="connsiteX1399" fmla="*/ 32000 w 51323"/>
                <a:gd name="connsiteY1399" fmla="*/ 10220 h 51323"/>
                <a:gd name="connsiteX1400" fmla="*/ 32275 w 51323"/>
                <a:gd name="connsiteY1400" fmla="*/ 10220 h 51323"/>
                <a:gd name="connsiteX1401" fmla="*/ 32275 w 51323"/>
                <a:gd name="connsiteY1401" fmla="*/ 10048 h 51323"/>
                <a:gd name="connsiteX1402" fmla="*/ 32378 w 51323"/>
                <a:gd name="connsiteY1402" fmla="*/ 10048 h 51323"/>
                <a:gd name="connsiteX1403" fmla="*/ 32584 w 51323"/>
                <a:gd name="connsiteY1403" fmla="*/ 10220 h 51323"/>
                <a:gd name="connsiteX1404" fmla="*/ 33683 w 51323"/>
                <a:gd name="connsiteY1404" fmla="*/ 10529 h 51323"/>
                <a:gd name="connsiteX1405" fmla="*/ 33804 w 51323"/>
                <a:gd name="connsiteY1405" fmla="*/ 10529 h 51323"/>
                <a:gd name="connsiteX1406" fmla="*/ 33597 w 51323"/>
                <a:gd name="connsiteY1406" fmla="*/ 11354 h 51323"/>
                <a:gd name="connsiteX1407" fmla="*/ 33426 w 51323"/>
                <a:gd name="connsiteY1407" fmla="*/ 11354 h 51323"/>
                <a:gd name="connsiteX1408" fmla="*/ 33065 w 51323"/>
                <a:gd name="connsiteY1408" fmla="*/ 11354 h 51323"/>
                <a:gd name="connsiteX1409" fmla="*/ 33357 w 51323"/>
                <a:gd name="connsiteY1409" fmla="*/ 11663 h 51323"/>
                <a:gd name="connsiteX1410" fmla="*/ 34576 w 51323"/>
                <a:gd name="connsiteY1410" fmla="*/ 12333 h 51323"/>
                <a:gd name="connsiteX1411" fmla="*/ 34250 w 51323"/>
                <a:gd name="connsiteY1411" fmla="*/ 12006 h 51323"/>
                <a:gd name="connsiteX1412" fmla="*/ 34972 w 51323"/>
                <a:gd name="connsiteY1412" fmla="*/ 11474 h 51323"/>
                <a:gd name="connsiteX1413" fmla="*/ 35143 w 51323"/>
                <a:gd name="connsiteY1413" fmla="*/ 11474 h 51323"/>
                <a:gd name="connsiteX1414" fmla="*/ 34181 w 51323"/>
                <a:gd name="connsiteY1414" fmla="*/ 10340 h 51323"/>
                <a:gd name="connsiteX1415" fmla="*/ 34800 w 51323"/>
                <a:gd name="connsiteY1415" fmla="*/ 10753 h 51323"/>
                <a:gd name="connsiteX1416" fmla="*/ 35143 w 51323"/>
                <a:gd name="connsiteY1416" fmla="*/ 10529 h 51323"/>
                <a:gd name="connsiteX1417" fmla="*/ 35401 w 51323"/>
                <a:gd name="connsiteY1417" fmla="*/ 10289 h 51323"/>
                <a:gd name="connsiteX1418" fmla="*/ 35401 w 51323"/>
                <a:gd name="connsiteY1418" fmla="*/ 10151 h 51323"/>
                <a:gd name="connsiteX1419" fmla="*/ 35727 w 51323"/>
                <a:gd name="connsiteY1419" fmla="*/ 10306 h 51323"/>
                <a:gd name="connsiteX1420" fmla="*/ 35727 w 51323"/>
                <a:gd name="connsiteY1420" fmla="*/ 10306 h 51323"/>
                <a:gd name="connsiteX1421" fmla="*/ 35830 w 51323"/>
                <a:gd name="connsiteY1421" fmla="*/ 9842 h 51323"/>
                <a:gd name="connsiteX1422" fmla="*/ 36019 w 51323"/>
                <a:gd name="connsiteY1422" fmla="*/ 9945 h 51323"/>
                <a:gd name="connsiteX1423" fmla="*/ 36122 w 51323"/>
                <a:gd name="connsiteY1423" fmla="*/ 9945 h 51323"/>
                <a:gd name="connsiteX1424" fmla="*/ 35848 w 51323"/>
                <a:gd name="connsiteY1424" fmla="*/ 9773 h 51323"/>
                <a:gd name="connsiteX1425" fmla="*/ 35848 w 51323"/>
                <a:gd name="connsiteY1425" fmla="*/ 9773 h 51323"/>
                <a:gd name="connsiteX1426" fmla="*/ 36981 w 51323"/>
                <a:gd name="connsiteY1426" fmla="*/ 9894 h 51323"/>
                <a:gd name="connsiteX1427" fmla="*/ 36260 w 51323"/>
                <a:gd name="connsiteY1427" fmla="*/ 9361 h 51323"/>
                <a:gd name="connsiteX1428" fmla="*/ 36260 w 51323"/>
                <a:gd name="connsiteY1428" fmla="*/ 9361 h 51323"/>
                <a:gd name="connsiteX1429" fmla="*/ 36140 w 51323"/>
                <a:gd name="connsiteY1429" fmla="*/ 9361 h 51323"/>
                <a:gd name="connsiteX1430" fmla="*/ 36140 w 51323"/>
                <a:gd name="connsiteY1430" fmla="*/ 9361 h 51323"/>
                <a:gd name="connsiteX1431" fmla="*/ 35882 w 51323"/>
                <a:gd name="connsiteY1431" fmla="*/ 9155 h 51323"/>
                <a:gd name="connsiteX1432" fmla="*/ 35727 w 51323"/>
                <a:gd name="connsiteY1432" fmla="*/ 8983 h 51323"/>
                <a:gd name="connsiteX1433" fmla="*/ 34594 w 51323"/>
                <a:gd name="connsiteY1433" fmla="*/ 7884 h 51323"/>
                <a:gd name="connsiteX1434" fmla="*/ 37136 w 51323"/>
                <a:gd name="connsiteY1434" fmla="*/ 9602 h 51323"/>
                <a:gd name="connsiteX1435" fmla="*/ 37136 w 51323"/>
                <a:gd name="connsiteY1435" fmla="*/ 9602 h 51323"/>
                <a:gd name="connsiteX1436" fmla="*/ 37806 w 51323"/>
                <a:gd name="connsiteY1436" fmla="*/ 10289 h 51323"/>
                <a:gd name="connsiteX1437" fmla="*/ 37806 w 51323"/>
                <a:gd name="connsiteY1437" fmla="*/ 10289 h 51323"/>
                <a:gd name="connsiteX1438" fmla="*/ 37806 w 51323"/>
                <a:gd name="connsiteY1438" fmla="*/ 10289 h 51323"/>
                <a:gd name="connsiteX1439" fmla="*/ 37703 w 51323"/>
                <a:gd name="connsiteY1439" fmla="*/ 10426 h 51323"/>
                <a:gd name="connsiteX1440" fmla="*/ 37101 w 51323"/>
                <a:gd name="connsiteY1440" fmla="*/ 9275 h 51323"/>
                <a:gd name="connsiteX1441" fmla="*/ 37101 w 51323"/>
                <a:gd name="connsiteY1441" fmla="*/ 9275 h 51323"/>
                <a:gd name="connsiteX1442" fmla="*/ 34851 w 51323"/>
                <a:gd name="connsiteY1442" fmla="*/ 7850 h 51323"/>
                <a:gd name="connsiteX1443" fmla="*/ 35933 w 51323"/>
                <a:gd name="connsiteY1443" fmla="*/ 8451 h 51323"/>
                <a:gd name="connsiteX1444" fmla="*/ 36105 w 51323"/>
                <a:gd name="connsiteY1444" fmla="*/ 8451 h 51323"/>
                <a:gd name="connsiteX1445" fmla="*/ 35367 w 51323"/>
                <a:gd name="connsiteY1445" fmla="*/ 8125 h 51323"/>
                <a:gd name="connsiteX1446" fmla="*/ 35367 w 51323"/>
                <a:gd name="connsiteY1446" fmla="*/ 8039 h 51323"/>
                <a:gd name="connsiteX1447" fmla="*/ 35367 w 51323"/>
                <a:gd name="connsiteY1447" fmla="*/ 8039 h 51323"/>
                <a:gd name="connsiteX1448" fmla="*/ 36363 w 51323"/>
                <a:gd name="connsiteY1448" fmla="*/ 8331 h 51323"/>
                <a:gd name="connsiteX1449" fmla="*/ 37256 w 51323"/>
                <a:gd name="connsiteY1449" fmla="*/ 8812 h 51323"/>
                <a:gd name="connsiteX1450" fmla="*/ 37428 w 51323"/>
                <a:gd name="connsiteY1450" fmla="*/ 8812 h 51323"/>
                <a:gd name="connsiteX1451" fmla="*/ 37101 w 51323"/>
                <a:gd name="connsiteY1451" fmla="*/ 8709 h 51323"/>
                <a:gd name="connsiteX1452" fmla="*/ 35384 w 51323"/>
                <a:gd name="connsiteY1452" fmla="*/ 7798 h 51323"/>
                <a:gd name="connsiteX1453" fmla="*/ 34525 w 51323"/>
                <a:gd name="connsiteY1453" fmla="*/ 7231 h 51323"/>
                <a:gd name="connsiteX1454" fmla="*/ 34851 w 51323"/>
                <a:gd name="connsiteY1454" fmla="*/ 7317 h 51323"/>
                <a:gd name="connsiteX1455" fmla="*/ 34267 w 51323"/>
                <a:gd name="connsiteY1455" fmla="*/ 7008 h 51323"/>
                <a:gd name="connsiteX1456" fmla="*/ 34027 w 51323"/>
                <a:gd name="connsiteY1456" fmla="*/ 6922 h 51323"/>
                <a:gd name="connsiteX1457" fmla="*/ 34027 w 51323"/>
                <a:gd name="connsiteY1457" fmla="*/ 6922 h 51323"/>
                <a:gd name="connsiteX1458" fmla="*/ 33872 w 51323"/>
                <a:gd name="connsiteY1458" fmla="*/ 6922 h 51323"/>
                <a:gd name="connsiteX1459" fmla="*/ 33872 w 51323"/>
                <a:gd name="connsiteY1459" fmla="*/ 6922 h 51323"/>
                <a:gd name="connsiteX1460" fmla="*/ 33615 w 51323"/>
                <a:gd name="connsiteY1460" fmla="*/ 6768 h 51323"/>
                <a:gd name="connsiteX1461" fmla="*/ 33615 w 51323"/>
                <a:gd name="connsiteY1461" fmla="*/ 6768 h 51323"/>
                <a:gd name="connsiteX1462" fmla="*/ 33168 w 51323"/>
                <a:gd name="connsiteY1462" fmla="*/ 6458 h 51323"/>
                <a:gd name="connsiteX1463" fmla="*/ 33168 w 51323"/>
                <a:gd name="connsiteY1463" fmla="*/ 6458 h 51323"/>
                <a:gd name="connsiteX1464" fmla="*/ 32910 w 51323"/>
                <a:gd name="connsiteY1464" fmla="*/ 6287 h 51323"/>
                <a:gd name="connsiteX1465" fmla="*/ 32910 w 51323"/>
                <a:gd name="connsiteY1465" fmla="*/ 6287 h 51323"/>
                <a:gd name="connsiteX1466" fmla="*/ 32910 w 51323"/>
                <a:gd name="connsiteY1466" fmla="*/ 6287 h 51323"/>
                <a:gd name="connsiteX1467" fmla="*/ 32910 w 51323"/>
                <a:gd name="connsiteY1467" fmla="*/ 6287 h 51323"/>
                <a:gd name="connsiteX1468" fmla="*/ 32687 w 51323"/>
                <a:gd name="connsiteY1468" fmla="*/ 6184 h 51323"/>
                <a:gd name="connsiteX1469" fmla="*/ 32687 w 51323"/>
                <a:gd name="connsiteY1469" fmla="*/ 6184 h 51323"/>
                <a:gd name="connsiteX1470" fmla="*/ 32687 w 51323"/>
                <a:gd name="connsiteY1470" fmla="*/ 6184 h 51323"/>
                <a:gd name="connsiteX1471" fmla="*/ 32687 w 51323"/>
                <a:gd name="connsiteY1471" fmla="*/ 6184 h 51323"/>
                <a:gd name="connsiteX1472" fmla="*/ 32687 w 51323"/>
                <a:gd name="connsiteY1472" fmla="*/ 6184 h 51323"/>
                <a:gd name="connsiteX1473" fmla="*/ 32962 w 51323"/>
                <a:gd name="connsiteY1473" fmla="*/ 6287 h 51323"/>
                <a:gd name="connsiteX1474" fmla="*/ 32739 w 51323"/>
                <a:gd name="connsiteY1474" fmla="*/ 6184 h 51323"/>
                <a:gd name="connsiteX1475" fmla="*/ 32893 w 51323"/>
                <a:gd name="connsiteY1475" fmla="*/ 6184 h 51323"/>
                <a:gd name="connsiteX1476" fmla="*/ 32807 w 51323"/>
                <a:gd name="connsiteY1476" fmla="*/ 6184 h 51323"/>
                <a:gd name="connsiteX1477" fmla="*/ 32670 w 51323"/>
                <a:gd name="connsiteY1477" fmla="*/ 6184 h 51323"/>
                <a:gd name="connsiteX1478" fmla="*/ 32670 w 51323"/>
                <a:gd name="connsiteY1478" fmla="*/ 6184 h 51323"/>
                <a:gd name="connsiteX1479" fmla="*/ 32532 w 51323"/>
                <a:gd name="connsiteY1479" fmla="*/ 6184 h 51323"/>
                <a:gd name="connsiteX1480" fmla="*/ 32876 w 51323"/>
                <a:gd name="connsiteY1480" fmla="*/ 6304 h 51323"/>
                <a:gd name="connsiteX1481" fmla="*/ 32481 w 51323"/>
                <a:gd name="connsiteY1481" fmla="*/ 6166 h 51323"/>
                <a:gd name="connsiteX1482" fmla="*/ 32481 w 51323"/>
                <a:gd name="connsiteY1482" fmla="*/ 6166 h 51323"/>
                <a:gd name="connsiteX1483" fmla="*/ 32343 w 51323"/>
                <a:gd name="connsiteY1483" fmla="*/ 6166 h 51323"/>
                <a:gd name="connsiteX1484" fmla="*/ 32343 w 51323"/>
                <a:gd name="connsiteY1484" fmla="*/ 6166 h 51323"/>
                <a:gd name="connsiteX1485" fmla="*/ 32343 w 51323"/>
                <a:gd name="connsiteY1485" fmla="*/ 6166 h 51323"/>
                <a:gd name="connsiteX1486" fmla="*/ 32206 w 51323"/>
                <a:gd name="connsiteY1486" fmla="*/ 6166 h 51323"/>
                <a:gd name="connsiteX1487" fmla="*/ 32206 w 51323"/>
                <a:gd name="connsiteY1487" fmla="*/ 6166 h 51323"/>
                <a:gd name="connsiteX1488" fmla="*/ 31742 w 51323"/>
                <a:gd name="connsiteY1488" fmla="*/ 6029 h 51323"/>
                <a:gd name="connsiteX1489" fmla="*/ 31742 w 51323"/>
                <a:gd name="connsiteY1489" fmla="*/ 6029 h 51323"/>
                <a:gd name="connsiteX1490" fmla="*/ 30952 w 51323"/>
                <a:gd name="connsiteY1490" fmla="*/ 5754 h 51323"/>
                <a:gd name="connsiteX1491" fmla="*/ 30952 w 51323"/>
                <a:gd name="connsiteY1491" fmla="*/ 5754 h 51323"/>
                <a:gd name="connsiteX1492" fmla="*/ 31055 w 51323"/>
                <a:gd name="connsiteY1492" fmla="*/ 5754 h 51323"/>
                <a:gd name="connsiteX1493" fmla="*/ 31055 w 51323"/>
                <a:gd name="connsiteY1493" fmla="*/ 5754 h 51323"/>
                <a:gd name="connsiteX1494" fmla="*/ 31605 w 51323"/>
                <a:gd name="connsiteY1494" fmla="*/ 5909 h 51323"/>
                <a:gd name="connsiteX1495" fmla="*/ 31416 w 51323"/>
                <a:gd name="connsiteY1495" fmla="*/ 5909 h 51323"/>
                <a:gd name="connsiteX1496" fmla="*/ 31588 w 51323"/>
                <a:gd name="connsiteY1496" fmla="*/ 5909 h 51323"/>
                <a:gd name="connsiteX1497" fmla="*/ 31485 w 51323"/>
                <a:gd name="connsiteY1497" fmla="*/ 5909 h 51323"/>
                <a:gd name="connsiteX1498" fmla="*/ 31485 w 51323"/>
                <a:gd name="connsiteY1498" fmla="*/ 5909 h 51323"/>
                <a:gd name="connsiteX1499" fmla="*/ 31485 w 51323"/>
                <a:gd name="connsiteY1499" fmla="*/ 5909 h 51323"/>
                <a:gd name="connsiteX1500" fmla="*/ 31811 w 51323"/>
                <a:gd name="connsiteY1500" fmla="*/ 5909 h 51323"/>
                <a:gd name="connsiteX1501" fmla="*/ 31811 w 51323"/>
                <a:gd name="connsiteY1501" fmla="*/ 5909 h 51323"/>
                <a:gd name="connsiteX1502" fmla="*/ 31708 w 51323"/>
                <a:gd name="connsiteY1502" fmla="*/ 5909 h 51323"/>
                <a:gd name="connsiteX1503" fmla="*/ 31708 w 51323"/>
                <a:gd name="connsiteY1503" fmla="*/ 5909 h 51323"/>
                <a:gd name="connsiteX1504" fmla="*/ 31708 w 51323"/>
                <a:gd name="connsiteY1504" fmla="*/ 5909 h 51323"/>
                <a:gd name="connsiteX1505" fmla="*/ 31708 w 51323"/>
                <a:gd name="connsiteY1505" fmla="*/ 5909 h 51323"/>
                <a:gd name="connsiteX1506" fmla="*/ 31708 w 51323"/>
                <a:gd name="connsiteY1506" fmla="*/ 5909 h 51323"/>
                <a:gd name="connsiteX1507" fmla="*/ 32292 w 51323"/>
                <a:gd name="connsiteY1507" fmla="*/ 6046 h 51323"/>
                <a:gd name="connsiteX1508" fmla="*/ 32051 w 51323"/>
                <a:gd name="connsiteY1508" fmla="*/ 6046 h 51323"/>
                <a:gd name="connsiteX1509" fmla="*/ 32378 w 51323"/>
                <a:gd name="connsiteY1509" fmla="*/ 6046 h 51323"/>
                <a:gd name="connsiteX1510" fmla="*/ 32635 w 51323"/>
                <a:gd name="connsiteY1510" fmla="*/ 6046 h 51323"/>
                <a:gd name="connsiteX1511" fmla="*/ 32635 w 51323"/>
                <a:gd name="connsiteY1511" fmla="*/ 6046 h 51323"/>
                <a:gd name="connsiteX1512" fmla="*/ 32773 w 51323"/>
                <a:gd name="connsiteY1512" fmla="*/ 6046 h 51323"/>
                <a:gd name="connsiteX1513" fmla="*/ 32773 w 51323"/>
                <a:gd name="connsiteY1513" fmla="*/ 6046 h 51323"/>
                <a:gd name="connsiteX1514" fmla="*/ 32773 w 51323"/>
                <a:gd name="connsiteY1514" fmla="*/ 6046 h 51323"/>
                <a:gd name="connsiteX1515" fmla="*/ 34010 w 51323"/>
                <a:gd name="connsiteY1515" fmla="*/ 6493 h 51323"/>
                <a:gd name="connsiteX1516" fmla="*/ 34010 w 51323"/>
                <a:gd name="connsiteY1516" fmla="*/ 6493 h 51323"/>
                <a:gd name="connsiteX1517" fmla="*/ 34645 w 51323"/>
                <a:gd name="connsiteY1517" fmla="*/ 6768 h 51323"/>
                <a:gd name="connsiteX1518" fmla="*/ 34645 w 51323"/>
                <a:gd name="connsiteY1518" fmla="*/ 6768 h 51323"/>
                <a:gd name="connsiteX1519" fmla="*/ 35470 w 51323"/>
                <a:gd name="connsiteY1519" fmla="*/ 7163 h 51323"/>
                <a:gd name="connsiteX1520" fmla="*/ 34662 w 51323"/>
                <a:gd name="connsiteY1520" fmla="*/ 6733 h 51323"/>
                <a:gd name="connsiteX1521" fmla="*/ 34662 w 51323"/>
                <a:gd name="connsiteY1521" fmla="*/ 6733 h 51323"/>
                <a:gd name="connsiteX1522" fmla="*/ 34353 w 51323"/>
                <a:gd name="connsiteY1522" fmla="*/ 6596 h 51323"/>
                <a:gd name="connsiteX1523" fmla="*/ 34491 w 51323"/>
                <a:gd name="connsiteY1523" fmla="*/ 6596 h 51323"/>
                <a:gd name="connsiteX1524" fmla="*/ 34250 w 51323"/>
                <a:gd name="connsiteY1524" fmla="*/ 6493 h 51323"/>
                <a:gd name="connsiteX1525" fmla="*/ 34113 w 51323"/>
                <a:gd name="connsiteY1525" fmla="*/ 6493 h 51323"/>
                <a:gd name="connsiteX1526" fmla="*/ 34422 w 51323"/>
                <a:gd name="connsiteY1526" fmla="*/ 6596 h 51323"/>
                <a:gd name="connsiteX1527" fmla="*/ 34113 w 51323"/>
                <a:gd name="connsiteY1527" fmla="*/ 6476 h 51323"/>
                <a:gd name="connsiteX1528" fmla="*/ 34628 w 51323"/>
                <a:gd name="connsiteY1528" fmla="*/ 6630 h 51323"/>
                <a:gd name="connsiteX1529" fmla="*/ 34473 w 51323"/>
                <a:gd name="connsiteY1529" fmla="*/ 6630 h 51323"/>
                <a:gd name="connsiteX1530" fmla="*/ 34473 w 51323"/>
                <a:gd name="connsiteY1530" fmla="*/ 6630 h 51323"/>
                <a:gd name="connsiteX1531" fmla="*/ 33700 w 51323"/>
                <a:gd name="connsiteY1531" fmla="*/ 4827 h 51323"/>
                <a:gd name="connsiteX1532" fmla="*/ 49314 w 51323"/>
                <a:gd name="connsiteY1532" fmla="*/ 25438 h 51323"/>
                <a:gd name="connsiteX1533" fmla="*/ 49177 w 51323"/>
                <a:gd name="connsiteY1533" fmla="*/ 26452 h 51323"/>
                <a:gd name="connsiteX1534" fmla="*/ 49159 w 51323"/>
                <a:gd name="connsiteY1534" fmla="*/ 26589 h 5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</a:cxnLst>
              <a:rect l="l" t="t" r="r" b="b"/>
              <a:pathLst>
                <a:path w="51323" h="51323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2CBAA18-CC04-464C-B2DA-F60F1DFE63B3}"/>
                </a:ext>
              </a:extLst>
            </p:cNvPr>
            <p:cNvSpPr/>
            <p:nvPr/>
          </p:nvSpPr>
          <p:spPr>
            <a:xfrm rot="16200000">
              <a:off x="12026199" y="6563439"/>
              <a:ext cx="13277" cy="68070"/>
            </a:xfrm>
            <a:custGeom>
              <a:avLst/>
              <a:gdLst>
                <a:gd name="connsiteX0" fmla="*/ 13277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7 w 13277"/>
                <a:gd name="connsiteY3" fmla="*/ 0 h 68070"/>
                <a:gd name="connsiteX4" fmla="*/ 0 w 13277"/>
                <a:gd name="connsiteY4" fmla="*/ 17984 h 68070"/>
                <a:gd name="connsiteX5" fmla="*/ 13277 w 13277"/>
                <a:gd name="connsiteY5" fmla="*/ 17984 h 68070"/>
                <a:gd name="connsiteX6" fmla="*/ 13277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7D25102-BF68-4480-830D-1A1BE174C734}"/>
                </a:ext>
              </a:extLst>
            </p:cNvPr>
            <p:cNvSpPr/>
            <p:nvPr/>
          </p:nvSpPr>
          <p:spPr>
            <a:xfrm rot="16200000">
              <a:off x="12018640" y="6529825"/>
              <a:ext cx="45208" cy="51256"/>
            </a:xfrm>
            <a:custGeom>
              <a:avLst/>
              <a:gdLst>
                <a:gd name="connsiteX0" fmla="*/ 40279 w 45208"/>
                <a:gd name="connsiteY0" fmla="*/ 4038 h 51256"/>
                <a:gd name="connsiteX1" fmla="*/ 45209 w 45208"/>
                <a:gd name="connsiteY1" fmla="*/ 17521 h 51256"/>
                <a:gd name="connsiteX2" fmla="*/ 45209 w 45208"/>
                <a:gd name="connsiteY2" fmla="*/ 51256 h 51256"/>
                <a:gd name="connsiteX3" fmla="*/ 31794 w 45208"/>
                <a:gd name="connsiteY3" fmla="*/ 51256 h 51256"/>
                <a:gd name="connsiteX4" fmla="*/ 31794 w 45208"/>
                <a:gd name="connsiteY4" fmla="*/ 20785 h 51256"/>
                <a:gd name="connsiteX5" fmla="*/ 30746 w 45208"/>
                <a:gd name="connsiteY5" fmla="*/ 14722 h 51256"/>
                <a:gd name="connsiteX6" fmla="*/ 23446 w 45208"/>
                <a:gd name="connsiteY6" fmla="*/ 10874 h 51256"/>
                <a:gd name="connsiteX7" fmla="*/ 14360 w 45208"/>
                <a:gd name="connsiteY7" fmla="*/ 16525 h 51256"/>
                <a:gd name="connsiteX8" fmla="*/ 13089 w 45208"/>
                <a:gd name="connsiteY8" fmla="*/ 24152 h 51256"/>
                <a:gd name="connsiteX9" fmla="*/ 13089 w 45208"/>
                <a:gd name="connsiteY9" fmla="*/ 51256 h 51256"/>
                <a:gd name="connsiteX10" fmla="*/ 0 w 45208"/>
                <a:gd name="connsiteY10" fmla="*/ 51256 h 51256"/>
                <a:gd name="connsiteX11" fmla="*/ 0 w 45208"/>
                <a:gd name="connsiteY11" fmla="*/ 1272 h 51256"/>
                <a:gd name="connsiteX12" fmla="*/ 12676 w 45208"/>
                <a:gd name="connsiteY12" fmla="*/ 1272 h 51256"/>
                <a:gd name="connsiteX13" fmla="*/ 12676 w 45208"/>
                <a:gd name="connsiteY13" fmla="*/ 8607 h 51256"/>
                <a:gd name="connsiteX14" fmla="*/ 17434 w 45208"/>
                <a:gd name="connsiteY14" fmla="*/ 3042 h 51256"/>
                <a:gd name="connsiteX15" fmla="*/ 27637 w 45208"/>
                <a:gd name="connsiteY15" fmla="*/ 19 h 51256"/>
                <a:gd name="connsiteX16" fmla="*/ 40279 w 45208"/>
                <a:gd name="connsiteY16" fmla="*/ 4038 h 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6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EE8638F-0CD8-4C03-9847-FAF25CBB620A}"/>
                </a:ext>
              </a:extLst>
            </p:cNvPr>
            <p:cNvSpPr/>
            <p:nvPr/>
          </p:nvSpPr>
          <p:spPr>
            <a:xfrm rot="16200000">
              <a:off x="12018195" y="6477145"/>
              <a:ext cx="28942" cy="68414"/>
            </a:xfrm>
            <a:custGeom>
              <a:avLst/>
              <a:gdLst>
                <a:gd name="connsiteX0" fmla="*/ 25868 w 28942"/>
                <a:gd name="connsiteY0" fmla="*/ 0 h 68414"/>
                <a:gd name="connsiteX1" fmla="*/ 28616 w 28942"/>
                <a:gd name="connsiteY1" fmla="*/ 206 h 68414"/>
                <a:gd name="connsiteX2" fmla="*/ 28616 w 28942"/>
                <a:gd name="connsiteY2" fmla="*/ 10941 h 68414"/>
                <a:gd name="connsiteX3" fmla="*/ 24923 w 28942"/>
                <a:gd name="connsiteY3" fmla="*/ 10735 h 68414"/>
                <a:gd name="connsiteX4" fmla="*/ 21333 w 28942"/>
                <a:gd name="connsiteY4" fmla="*/ 11869 h 68414"/>
                <a:gd name="connsiteX5" fmla="*/ 20354 w 28942"/>
                <a:gd name="connsiteY5" fmla="*/ 14566 h 68414"/>
                <a:gd name="connsiteX6" fmla="*/ 20354 w 28942"/>
                <a:gd name="connsiteY6" fmla="*/ 18791 h 68414"/>
                <a:gd name="connsiteX7" fmla="*/ 28943 w 28942"/>
                <a:gd name="connsiteY7" fmla="*/ 18791 h 68414"/>
                <a:gd name="connsiteX8" fmla="*/ 28943 w 28942"/>
                <a:gd name="connsiteY8" fmla="*/ 28032 h 68414"/>
                <a:gd name="connsiteX9" fmla="*/ 20354 w 28942"/>
                <a:gd name="connsiteY9" fmla="*/ 28032 h 68414"/>
                <a:gd name="connsiteX10" fmla="*/ 20354 w 28942"/>
                <a:gd name="connsiteY10" fmla="*/ 68414 h 68414"/>
                <a:gd name="connsiteX11" fmla="*/ 7352 w 28942"/>
                <a:gd name="connsiteY11" fmla="*/ 68414 h 68414"/>
                <a:gd name="connsiteX12" fmla="*/ 7352 w 28942"/>
                <a:gd name="connsiteY12" fmla="*/ 28032 h 68414"/>
                <a:gd name="connsiteX13" fmla="*/ 0 w 28942"/>
                <a:gd name="connsiteY13" fmla="*/ 28032 h 68414"/>
                <a:gd name="connsiteX14" fmla="*/ 0 w 28942"/>
                <a:gd name="connsiteY14" fmla="*/ 18791 h 68414"/>
                <a:gd name="connsiteX15" fmla="*/ 7163 w 28942"/>
                <a:gd name="connsiteY15" fmla="*/ 18791 h 68414"/>
                <a:gd name="connsiteX16" fmla="*/ 7163 w 28942"/>
                <a:gd name="connsiteY16" fmla="*/ 15579 h 68414"/>
                <a:gd name="connsiteX17" fmla="*/ 9877 w 28942"/>
                <a:gd name="connsiteY17" fmla="*/ 4500 h 68414"/>
                <a:gd name="connsiteX18" fmla="*/ 23618 w 28942"/>
                <a:gd name="connsiteY18" fmla="*/ 0 h 68414"/>
                <a:gd name="connsiteX19" fmla="*/ 25868 w 28942"/>
                <a:gd name="connsiteY19" fmla="*/ 0 h 6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42" h="68414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481A8A-8F5D-40BC-B59F-D4CEF2254BB7}"/>
                </a:ext>
              </a:extLst>
            </p:cNvPr>
            <p:cNvSpPr/>
            <p:nvPr/>
          </p:nvSpPr>
          <p:spPr>
            <a:xfrm rot="16200000">
              <a:off x="12016830" y="6161182"/>
              <a:ext cx="49036" cy="51048"/>
            </a:xfrm>
            <a:custGeom>
              <a:avLst/>
              <a:gdLst>
                <a:gd name="connsiteX0" fmla="*/ 42949 w 49036"/>
                <a:gd name="connsiteY0" fmla="*/ 43542 h 51048"/>
                <a:gd name="connsiteX1" fmla="*/ 24519 w 49036"/>
                <a:gd name="connsiteY1" fmla="*/ 51049 h 51048"/>
                <a:gd name="connsiteX2" fmla="*/ 6071 w 49036"/>
                <a:gd name="connsiteY2" fmla="*/ 43542 h 51048"/>
                <a:gd name="connsiteX3" fmla="*/ 8 w 49036"/>
                <a:gd name="connsiteY3" fmla="*/ 25576 h 51048"/>
                <a:gd name="connsiteX4" fmla="*/ 6071 w 49036"/>
                <a:gd name="connsiteY4" fmla="*/ 7592 h 51048"/>
                <a:gd name="connsiteX5" fmla="*/ 24519 w 49036"/>
                <a:gd name="connsiteY5" fmla="*/ 0 h 51048"/>
                <a:gd name="connsiteX6" fmla="*/ 42949 w 49036"/>
                <a:gd name="connsiteY6" fmla="*/ 7592 h 51048"/>
                <a:gd name="connsiteX7" fmla="*/ 49030 w 49036"/>
                <a:gd name="connsiteY7" fmla="*/ 25576 h 51048"/>
                <a:gd name="connsiteX8" fmla="*/ 42949 w 49036"/>
                <a:gd name="connsiteY8" fmla="*/ 43542 h 51048"/>
                <a:gd name="connsiteX9" fmla="*/ 32918 w 49036"/>
                <a:gd name="connsiteY9" fmla="*/ 36672 h 51048"/>
                <a:gd name="connsiteX10" fmla="*/ 35872 w 49036"/>
                <a:gd name="connsiteY10" fmla="*/ 25576 h 51048"/>
                <a:gd name="connsiteX11" fmla="*/ 32918 w 49036"/>
                <a:gd name="connsiteY11" fmla="*/ 14480 h 51048"/>
                <a:gd name="connsiteX12" fmla="*/ 17172 w 49036"/>
                <a:gd name="connsiteY12" fmla="*/ 13307 h 51048"/>
                <a:gd name="connsiteX13" fmla="*/ 15999 w 49036"/>
                <a:gd name="connsiteY13" fmla="*/ 14480 h 51048"/>
                <a:gd name="connsiteX14" fmla="*/ 13027 w 49036"/>
                <a:gd name="connsiteY14" fmla="*/ 25576 h 51048"/>
                <a:gd name="connsiteX15" fmla="*/ 15999 w 49036"/>
                <a:gd name="connsiteY15" fmla="*/ 36706 h 51048"/>
                <a:gd name="connsiteX16" fmla="*/ 31692 w 49036"/>
                <a:gd name="connsiteY16" fmla="*/ 37932 h 51048"/>
                <a:gd name="connsiteX17" fmla="*/ 32918 w 49036"/>
                <a:gd name="connsiteY17" fmla="*/ 36706 h 51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036" h="51048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50965BC-1532-45A0-8F0A-37DAEC7BBE6F}"/>
                </a:ext>
              </a:extLst>
            </p:cNvPr>
            <p:cNvSpPr/>
            <p:nvPr/>
          </p:nvSpPr>
          <p:spPr>
            <a:xfrm rot="16200000">
              <a:off x="12005374" y="6370523"/>
              <a:ext cx="71791" cy="51205"/>
            </a:xfrm>
            <a:custGeom>
              <a:avLst/>
              <a:gdLst>
                <a:gd name="connsiteX0" fmla="*/ 62643 w 71791"/>
                <a:gd name="connsiteY0" fmla="*/ 1307 h 51205"/>
                <a:gd name="connsiteX1" fmla="*/ 68466 w 71791"/>
                <a:gd name="connsiteY1" fmla="*/ 5808 h 51205"/>
                <a:gd name="connsiteX2" fmla="*/ 71317 w 71791"/>
                <a:gd name="connsiteY2" fmla="*/ 12249 h 51205"/>
                <a:gd name="connsiteX3" fmla="*/ 71781 w 71791"/>
                <a:gd name="connsiteY3" fmla="*/ 19635 h 51205"/>
                <a:gd name="connsiteX4" fmla="*/ 71781 w 71791"/>
                <a:gd name="connsiteY4" fmla="*/ 51205 h 51205"/>
                <a:gd name="connsiteX5" fmla="*/ 58349 w 71791"/>
                <a:gd name="connsiteY5" fmla="*/ 51205 h 51205"/>
                <a:gd name="connsiteX6" fmla="*/ 58349 w 71791"/>
                <a:gd name="connsiteY6" fmla="*/ 19308 h 51205"/>
                <a:gd name="connsiteX7" fmla="*/ 57438 w 71791"/>
                <a:gd name="connsiteY7" fmla="*/ 14636 h 51205"/>
                <a:gd name="connsiteX8" fmla="*/ 50997 w 71791"/>
                <a:gd name="connsiteY8" fmla="*/ 11201 h 51205"/>
                <a:gd name="connsiteX9" fmla="*/ 43525 w 71791"/>
                <a:gd name="connsiteY9" fmla="*/ 15701 h 51205"/>
                <a:gd name="connsiteX10" fmla="*/ 42460 w 71791"/>
                <a:gd name="connsiteY10" fmla="*/ 21455 h 51205"/>
                <a:gd name="connsiteX11" fmla="*/ 42460 w 71791"/>
                <a:gd name="connsiteY11" fmla="*/ 51205 h 51205"/>
                <a:gd name="connsiteX12" fmla="*/ 29269 w 71791"/>
                <a:gd name="connsiteY12" fmla="*/ 51205 h 51205"/>
                <a:gd name="connsiteX13" fmla="*/ 29269 w 71791"/>
                <a:gd name="connsiteY13" fmla="*/ 21387 h 51205"/>
                <a:gd name="connsiteX14" fmla="*/ 28359 w 71791"/>
                <a:gd name="connsiteY14" fmla="*/ 14911 h 51205"/>
                <a:gd name="connsiteX15" fmla="*/ 21883 w 71791"/>
                <a:gd name="connsiteY15" fmla="*/ 11270 h 51205"/>
                <a:gd name="connsiteX16" fmla="*/ 14342 w 71791"/>
                <a:gd name="connsiteY16" fmla="*/ 14911 h 51205"/>
                <a:gd name="connsiteX17" fmla="*/ 13277 w 71791"/>
                <a:gd name="connsiteY17" fmla="*/ 21060 h 51205"/>
                <a:gd name="connsiteX18" fmla="*/ 13277 w 71791"/>
                <a:gd name="connsiteY18" fmla="*/ 51205 h 51205"/>
                <a:gd name="connsiteX19" fmla="*/ 0 w 71791"/>
                <a:gd name="connsiteY19" fmla="*/ 51205 h 51205"/>
                <a:gd name="connsiteX20" fmla="*/ 0 w 71791"/>
                <a:gd name="connsiteY20" fmla="*/ 1221 h 51205"/>
                <a:gd name="connsiteX21" fmla="*/ 12728 w 71791"/>
                <a:gd name="connsiteY21" fmla="*/ 1221 h 51205"/>
                <a:gd name="connsiteX22" fmla="*/ 12728 w 71791"/>
                <a:gd name="connsiteY22" fmla="*/ 8556 h 51205"/>
                <a:gd name="connsiteX23" fmla="*/ 17331 w 71791"/>
                <a:gd name="connsiteY23" fmla="*/ 2991 h 51205"/>
                <a:gd name="connsiteX24" fmla="*/ 36483 w 71791"/>
                <a:gd name="connsiteY24" fmla="*/ 2578 h 51205"/>
                <a:gd name="connsiteX25" fmla="*/ 40726 w 71791"/>
                <a:gd name="connsiteY25" fmla="*/ 8556 h 51205"/>
                <a:gd name="connsiteX26" fmla="*/ 47098 w 71791"/>
                <a:gd name="connsiteY26" fmla="*/ 2063 h 51205"/>
                <a:gd name="connsiteX27" fmla="*/ 56116 w 71791"/>
                <a:gd name="connsiteY27" fmla="*/ 2 h 51205"/>
                <a:gd name="connsiteX28" fmla="*/ 62643 w 71791"/>
                <a:gd name="connsiteY28" fmla="*/ 1307 h 5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1791" h="51205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C1AF2FC-06E9-481D-AAD4-A185594C60F4}"/>
                </a:ext>
              </a:extLst>
            </p:cNvPr>
            <p:cNvSpPr/>
            <p:nvPr/>
          </p:nvSpPr>
          <p:spPr>
            <a:xfrm rot="16200000">
              <a:off x="12026199" y="6307354"/>
              <a:ext cx="13277" cy="68070"/>
            </a:xfrm>
            <a:custGeom>
              <a:avLst/>
              <a:gdLst>
                <a:gd name="connsiteX0" fmla="*/ 13278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8 w 13277"/>
                <a:gd name="connsiteY3" fmla="*/ 0 h 68070"/>
                <a:gd name="connsiteX4" fmla="*/ 0 w 13277"/>
                <a:gd name="connsiteY4" fmla="*/ 17984 h 68070"/>
                <a:gd name="connsiteX5" fmla="*/ 13278 w 13277"/>
                <a:gd name="connsiteY5" fmla="*/ 17984 h 68070"/>
                <a:gd name="connsiteX6" fmla="*/ 13278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A1342B2-AEC9-4B66-9503-4CFC2ED0B897}"/>
                </a:ext>
              </a:extLst>
            </p:cNvPr>
            <p:cNvSpPr/>
            <p:nvPr/>
          </p:nvSpPr>
          <p:spPr>
            <a:xfrm rot="16200000">
              <a:off x="12018641" y="6273739"/>
              <a:ext cx="45208" cy="51255"/>
            </a:xfrm>
            <a:custGeom>
              <a:avLst/>
              <a:gdLst>
                <a:gd name="connsiteX0" fmla="*/ 40296 w 45208"/>
                <a:gd name="connsiteY0" fmla="*/ 4038 h 51255"/>
                <a:gd name="connsiteX1" fmla="*/ 45209 w 45208"/>
                <a:gd name="connsiteY1" fmla="*/ 17521 h 51255"/>
                <a:gd name="connsiteX2" fmla="*/ 45209 w 45208"/>
                <a:gd name="connsiteY2" fmla="*/ 51256 h 51255"/>
                <a:gd name="connsiteX3" fmla="*/ 31794 w 45208"/>
                <a:gd name="connsiteY3" fmla="*/ 51256 h 51255"/>
                <a:gd name="connsiteX4" fmla="*/ 31794 w 45208"/>
                <a:gd name="connsiteY4" fmla="*/ 20785 h 51255"/>
                <a:gd name="connsiteX5" fmla="*/ 30746 w 45208"/>
                <a:gd name="connsiteY5" fmla="*/ 14722 h 51255"/>
                <a:gd name="connsiteX6" fmla="*/ 23446 w 45208"/>
                <a:gd name="connsiteY6" fmla="*/ 10874 h 51255"/>
                <a:gd name="connsiteX7" fmla="*/ 14377 w 45208"/>
                <a:gd name="connsiteY7" fmla="*/ 16525 h 51255"/>
                <a:gd name="connsiteX8" fmla="*/ 13089 w 45208"/>
                <a:gd name="connsiteY8" fmla="*/ 24151 h 51255"/>
                <a:gd name="connsiteX9" fmla="*/ 13089 w 45208"/>
                <a:gd name="connsiteY9" fmla="*/ 51256 h 51255"/>
                <a:gd name="connsiteX10" fmla="*/ 0 w 45208"/>
                <a:gd name="connsiteY10" fmla="*/ 51256 h 51255"/>
                <a:gd name="connsiteX11" fmla="*/ 0 w 45208"/>
                <a:gd name="connsiteY11" fmla="*/ 1272 h 51255"/>
                <a:gd name="connsiteX12" fmla="*/ 12676 w 45208"/>
                <a:gd name="connsiteY12" fmla="*/ 1272 h 51255"/>
                <a:gd name="connsiteX13" fmla="*/ 12676 w 45208"/>
                <a:gd name="connsiteY13" fmla="*/ 8607 h 51255"/>
                <a:gd name="connsiteX14" fmla="*/ 17434 w 45208"/>
                <a:gd name="connsiteY14" fmla="*/ 3042 h 51255"/>
                <a:gd name="connsiteX15" fmla="*/ 27637 w 45208"/>
                <a:gd name="connsiteY15" fmla="*/ 18 h 51255"/>
                <a:gd name="connsiteX16" fmla="*/ 40296 w 45208"/>
                <a:gd name="connsiteY16" fmla="*/ 4038 h 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5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41AC723-9EBC-48CA-B1C7-D2D5419421B0}"/>
                </a:ext>
              </a:extLst>
            </p:cNvPr>
            <p:cNvSpPr/>
            <p:nvPr/>
          </p:nvSpPr>
          <p:spPr>
            <a:xfrm rot="16200000">
              <a:off x="12017163" y="6218687"/>
              <a:ext cx="48082" cy="51510"/>
            </a:xfrm>
            <a:custGeom>
              <a:avLst/>
              <a:gdLst>
                <a:gd name="connsiteX0" fmla="*/ 35384 w 48082"/>
                <a:gd name="connsiteY0" fmla="*/ 2281 h 51510"/>
                <a:gd name="connsiteX1" fmla="*/ 43766 w 48082"/>
                <a:gd name="connsiteY1" fmla="*/ 9444 h 51510"/>
                <a:gd name="connsiteX2" fmla="*/ 47631 w 48082"/>
                <a:gd name="connsiteY2" fmla="*/ 19475 h 51510"/>
                <a:gd name="connsiteX3" fmla="*/ 48043 w 48082"/>
                <a:gd name="connsiteY3" fmla="*/ 29094 h 51510"/>
                <a:gd name="connsiteX4" fmla="*/ 12711 w 48082"/>
                <a:gd name="connsiteY4" fmla="*/ 29094 h 51510"/>
                <a:gd name="connsiteX5" fmla="*/ 17778 w 48082"/>
                <a:gd name="connsiteY5" fmla="*/ 39400 h 51510"/>
                <a:gd name="connsiteX6" fmla="*/ 24769 w 48082"/>
                <a:gd name="connsiteY6" fmla="*/ 41237 h 51510"/>
                <a:gd name="connsiteX7" fmla="*/ 31811 w 48082"/>
                <a:gd name="connsiteY7" fmla="*/ 39004 h 51510"/>
                <a:gd name="connsiteX8" fmla="*/ 34405 w 48082"/>
                <a:gd name="connsiteY8" fmla="*/ 35672 h 51510"/>
                <a:gd name="connsiteX9" fmla="*/ 47407 w 48082"/>
                <a:gd name="connsiteY9" fmla="*/ 35672 h 51510"/>
                <a:gd name="connsiteX10" fmla="*/ 42701 w 48082"/>
                <a:gd name="connsiteY10" fmla="*/ 44432 h 51510"/>
                <a:gd name="connsiteX11" fmla="*/ 24459 w 48082"/>
                <a:gd name="connsiteY11" fmla="*/ 51509 h 51510"/>
                <a:gd name="connsiteX12" fmla="*/ 7386 w 48082"/>
                <a:gd name="connsiteY12" fmla="*/ 45549 h 51510"/>
                <a:gd name="connsiteX13" fmla="*/ 0 w 48082"/>
                <a:gd name="connsiteY13" fmla="*/ 26139 h 51510"/>
                <a:gd name="connsiteX14" fmla="*/ 6682 w 48082"/>
                <a:gd name="connsiteY14" fmla="*/ 6816 h 51510"/>
                <a:gd name="connsiteX15" fmla="*/ 23961 w 48082"/>
                <a:gd name="connsiteY15" fmla="*/ 14 h 51510"/>
                <a:gd name="connsiteX16" fmla="*/ 35384 w 48082"/>
                <a:gd name="connsiteY16" fmla="*/ 2281 h 51510"/>
                <a:gd name="connsiteX17" fmla="*/ 16490 w 48082"/>
                <a:gd name="connsiteY17" fmla="*/ 13223 h 51510"/>
                <a:gd name="connsiteX18" fmla="*/ 13054 w 48082"/>
                <a:gd name="connsiteY18" fmla="*/ 20797 h 51510"/>
                <a:gd name="connsiteX19" fmla="*/ 34886 w 48082"/>
                <a:gd name="connsiteY19" fmla="*/ 20797 h 51510"/>
                <a:gd name="connsiteX20" fmla="*/ 31450 w 48082"/>
                <a:gd name="connsiteY20" fmla="*/ 13137 h 51510"/>
                <a:gd name="connsiteX21" fmla="*/ 23961 w 48082"/>
                <a:gd name="connsiteY21" fmla="*/ 10491 h 51510"/>
                <a:gd name="connsiteX22" fmla="*/ 16490 w 48082"/>
                <a:gd name="connsiteY22" fmla="*/ 13223 h 5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8082" h="5151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4" name="Copyright">
            <a:extLst>
              <a:ext uri="{FF2B5EF4-FFF2-40B4-BE49-F238E27FC236}">
                <a16:creationId xmlns:a16="http://schemas.microsoft.com/office/drawing/2014/main" id="{2B7A128F-26DE-473C-95DA-CCAF4D373141}"/>
              </a:ext>
            </a:extLst>
          </p:cNvPr>
          <p:cNvSpPr txBox="1"/>
          <p:nvPr userDrawn="1"/>
        </p:nvSpPr>
        <p:spPr>
          <a:xfrm rot="16200000">
            <a:off x="11250971" y="5290633"/>
            <a:ext cx="1567737" cy="110800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lvl="0" algn="l" rtl="0"/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0. All rights reserved.</a:t>
            </a: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3C13A330-69BE-41FF-B32E-FB999A7374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3" y="6445294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 rtl="0">
              <a:defRPr lang="en-IN">
                <a:solidFill>
                  <a:schemeClr val="tx2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21F99190-1A65-41A8-BBA7-98BD441A8C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3" y="6465614"/>
            <a:ext cx="150682" cy="138499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5865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96057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E2B9A3-0AB0-4FA9-BE30-99B8A88EB1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8134763" y="-1"/>
            <a:ext cx="4059776" cy="6858001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8429EF-F441-3040-BB9E-07E66E2B20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142" y="562841"/>
            <a:ext cx="7261122" cy="418576"/>
          </a:xfrm>
        </p:spPr>
        <p:txBody>
          <a:bodyPr vert="horz" wrap="square" lIns="0" tIns="0" rIns="0" bIns="0" rtlCol="0" anchor="t">
            <a:spAutoFit/>
          </a:bodyPr>
          <a:lstStyle>
            <a:lvl1pPr rtl="0">
              <a:defRPr lang="en-US" dirty="0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453" y="6445294"/>
            <a:ext cx="150683" cy="138499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7BD8F9-1D4E-4291-8770-E69192472F2F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F19AD426-D097-4B58-AA0C-5D7F9F888F48}"/>
              </a:ext>
            </a:extLst>
          </p:cNvPr>
          <p:cNvGrpSpPr/>
          <p:nvPr userDrawn="1"/>
        </p:nvGrpSpPr>
        <p:grpSpPr>
          <a:xfrm>
            <a:off x="11998459" y="6162188"/>
            <a:ext cx="68500" cy="441924"/>
            <a:chOff x="11998459" y="6162188"/>
            <a:chExt cx="68500" cy="441924"/>
          </a:xfrm>
          <a:solidFill>
            <a:schemeClr val="bg1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90898366-B817-43FB-AFAE-6B0F4D8DBE50}"/>
                </a:ext>
              </a:extLst>
            </p:cNvPr>
            <p:cNvSpPr/>
            <p:nvPr/>
          </p:nvSpPr>
          <p:spPr>
            <a:xfrm rot="16200000">
              <a:off x="12063068" y="6476346"/>
              <a:ext cx="17" cy="1717"/>
            </a:xfrm>
            <a:custGeom>
              <a:avLst/>
              <a:gdLst>
                <a:gd name="connsiteX0" fmla="*/ 0 w 17"/>
                <a:gd name="connsiteY0" fmla="*/ 0 h 1717"/>
                <a:gd name="connsiteX1" fmla="*/ 17 w 17"/>
                <a:gd name="connsiteY1" fmla="*/ 0 h 1717"/>
                <a:gd name="connsiteX2" fmla="*/ 17 w 17"/>
                <a:gd name="connsiteY2" fmla="*/ 0 h 1717"/>
                <a:gd name="connsiteX3" fmla="*/ 0 w 17"/>
                <a:gd name="connsiteY3" fmla="*/ 0 h 1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" h="1717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17DAB8C-8046-45A5-9FE4-564DE8FE4EE2}"/>
                </a:ext>
              </a:extLst>
            </p:cNvPr>
            <p:cNvSpPr/>
            <p:nvPr/>
          </p:nvSpPr>
          <p:spPr>
            <a:xfrm rot="16200000">
              <a:off x="12023737" y="6455896"/>
              <a:ext cx="453" cy="271"/>
            </a:xfrm>
            <a:custGeom>
              <a:avLst/>
              <a:gdLst>
                <a:gd name="connsiteX0" fmla="*/ 0 w 453"/>
                <a:gd name="connsiteY0" fmla="*/ 0 h 271"/>
                <a:gd name="connsiteX1" fmla="*/ 447 w 453"/>
                <a:gd name="connsiteY1" fmla="*/ 240 h 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" h="271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1156B93-1AC0-4DBA-B396-FC69064FFEF4}"/>
                </a:ext>
              </a:extLst>
            </p:cNvPr>
            <p:cNvSpPr/>
            <p:nvPr/>
          </p:nvSpPr>
          <p:spPr>
            <a:xfrm rot="16200000">
              <a:off x="12023907" y="6477766"/>
              <a:ext cx="15" cy="76"/>
            </a:xfrm>
            <a:custGeom>
              <a:avLst/>
              <a:gdLst>
                <a:gd name="connsiteX0" fmla="*/ 15 w 15"/>
                <a:gd name="connsiteY0" fmla="*/ 38 h 76"/>
                <a:gd name="connsiteX1" fmla="*/ 15 w 15"/>
                <a:gd name="connsiteY1" fmla="*/ 38 h 76"/>
                <a:gd name="connsiteX2" fmla="*/ 15 w 15"/>
                <a:gd name="connsiteY2" fmla="*/ 38 h 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" h="76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1E59D13-5E41-48F0-B4AD-7159EBBE3A9B}"/>
                </a:ext>
              </a:extLst>
            </p:cNvPr>
            <p:cNvSpPr/>
            <p:nvPr/>
          </p:nvSpPr>
          <p:spPr>
            <a:xfrm rot="16200000">
              <a:off x="12021636" y="6473651"/>
              <a:ext cx="261" cy="103"/>
            </a:xfrm>
            <a:custGeom>
              <a:avLst/>
              <a:gdLst>
                <a:gd name="connsiteX0" fmla="*/ 262 w 261"/>
                <a:gd name="connsiteY0" fmla="*/ 0 h 103"/>
                <a:gd name="connsiteX1" fmla="*/ 56 w 261"/>
                <a:gd name="connsiteY1" fmla="*/ 103 h 103"/>
                <a:gd name="connsiteX2" fmla="*/ 56 w 261"/>
                <a:gd name="connsiteY2" fmla="*/ 103 h 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" h="103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55096B5-2F5A-4EE7-9D5D-017B4E21FBAC}"/>
                </a:ext>
              </a:extLst>
            </p:cNvPr>
            <p:cNvSpPr/>
            <p:nvPr/>
          </p:nvSpPr>
          <p:spPr>
            <a:xfrm rot="16200000">
              <a:off x="12015635" y="6442208"/>
              <a:ext cx="51323" cy="51323"/>
            </a:xfrm>
            <a:custGeom>
              <a:avLst/>
              <a:gdLst>
                <a:gd name="connsiteX0" fmla="*/ 25662 w 51323"/>
                <a:gd name="connsiteY0" fmla="*/ 0 h 51323"/>
                <a:gd name="connsiteX1" fmla="*/ 0 w 51323"/>
                <a:gd name="connsiteY1" fmla="*/ 25662 h 51323"/>
                <a:gd name="connsiteX2" fmla="*/ 25662 w 51323"/>
                <a:gd name="connsiteY2" fmla="*/ 51323 h 51323"/>
                <a:gd name="connsiteX3" fmla="*/ 51324 w 51323"/>
                <a:gd name="connsiteY3" fmla="*/ 25662 h 51323"/>
                <a:gd name="connsiteX4" fmla="*/ 51324 w 51323"/>
                <a:gd name="connsiteY4" fmla="*/ 25610 h 51323"/>
                <a:gd name="connsiteX5" fmla="*/ 25679 w 51323"/>
                <a:gd name="connsiteY5" fmla="*/ 0 h 51323"/>
                <a:gd name="connsiteX6" fmla="*/ 25662 w 51323"/>
                <a:gd name="connsiteY6" fmla="*/ 0 h 51323"/>
                <a:gd name="connsiteX7" fmla="*/ 26967 w 51323"/>
                <a:gd name="connsiteY7" fmla="*/ 15648 h 51323"/>
                <a:gd name="connsiteX8" fmla="*/ 26967 w 51323"/>
                <a:gd name="connsiteY8" fmla="*/ 15837 h 51323"/>
                <a:gd name="connsiteX9" fmla="*/ 26744 w 51323"/>
                <a:gd name="connsiteY9" fmla="*/ 15837 h 51323"/>
                <a:gd name="connsiteX10" fmla="*/ 26933 w 51323"/>
                <a:gd name="connsiteY10" fmla="*/ 16163 h 51323"/>
                <a:gd name="connsiteX11" fmla="*/ 27036 w 51323"/>
                <a:gd name="connsiteY11" fmla="*/ 16163 h 51323"/>
                <a:gd name="connsiteX12" fmla="*/ 27294 w 51323"/>
                <a:gd name="connsiteY12" fmla="*/ 16489 h 51323"/>
                <a:gd name="connsiteX13" fmla="*/ 27294 w 51323"/>
                <a:gd name="connsiteY13" fmla="*/ 16489 h 51323"/>
                <a:gd name="connsiteX14" fmla="*/ 27294 w 51323"/>
                <a:gd name="connsiteY14" fmla="*/ 16489 h 51323"/>
                <a:gd name="connsiteX15" fmla="*/ 27294 w 51323"/>
                <a:gd name="connsiteY15" fmla="*/ 16489 h 51323"/>
                <a:gd name="connsiteX16" fmla="*/ 27156 w 51323"/>
                <a:gd name="connsiteY16" fmla="*/ 16489 h 51323"/>
                <a:gd name="connsiteX17" fmla="*/ 27156 w 51323"/>
                <a:gd name="connsiteY17" fmla="*/ 16593 h 51323"/>
                <a:gd name="connsiteX18" fmla="*/ 27156 w 51323"/>
                <a:gd name="connsiteY18" fmla="*/ 16593 h 51323"/>
                <a:gd name="connsiteX19" fmla="*/ 27379 w 51323"/>
                <a:gd name="connsiteY19" fmla="*/ 16593 h 51323"/>
                <a:gd name="connsiteX20" fmla="*/ 27276 w 51323"/>
                <a:gd name="connsiteY20" fmla="*/ 16799 h 51323"/>
                <a:gd name="connsiteX21" fmla="*/ 26744 w 51323"/>
                <a:gd name="connsiteY21" fmla="*/ 16799 h 51323"/>
                <a:gd name="connsiteX22" fmla="*/ 26074 w 51323"/>
                <a:gd name="connsiteY22" fmla="*/ 16902 h 51323"/>
                <a:gd name="connsiteX23" fmla="*/ 25868 w 51323"/>
                <a:gd name="connsiteY23" fmla="*/ 16988 h 51323"/>
                <a:gd name="connsiteX24" fmla="*/ 25559 w 51323"/>
                <a:gd name="connsiteY24" fmla="*/ 17142 h 51323"/>
                <a:gd name="connsiteX25" fmla="*/ 25404 w 51323"/>
                <a:gd name="connsiteY25" fmla="*/ 17142 h 51323"/>
                <a:gd name="connsiteX26" fmla="*/ 25816 w 51323"/>
                <a:gd name="connsiteY26" fmla="*/ 16764 h 51323"/>
                <a:gd name="connsiteX27" fmla="*/ 26194 w 51323"/>
                <a:gd name="connsiteY27" fmla="*/ 16764 h 51323"/>
                <a:gd name="connsiteX28" fmla="*/ 26349 w 51323"/>
                <a:gd name="connsiteY28" fmla="*/ 16541 h 51323"/>
                <a:gd name="connsiteX29" fmla="*/ 26005 w 51323"/>
                <a:gd name="connsiteY29" fmla="*/ 16627 h 51323"/>
                <a:gd name="connsiteX30" fmla="*/ 25902 w 51323"/>
                <a:gd name="connsiteY30" fmla="*/ 16627 h 51323"/>
                <a:gd name="connsiteX31" fmla="*/ 25662 w 51323"/>
                <a:gd name="connsiteY31" fmla="*/ 16627 h 51323"/>
                <a:gd name="connsiteX32" fmla="*/ 25662 w 51323"/>
                <a:gd name="connsiteY32" fmla="*/ 16627 h 51323"/>
                <a:gd name="connsiteX33" fmla="*/ 25662 w 51323"/>
                <a:gd name="connsiteY33" fmla="*/ 16627 h 51323"/>
                <a:gd name="connsiteX34" fmla="*/ 26005 w 51323"/>
                <a:gd name="connsiteY34" fmla="*/ 16215 h 51323"/>
                <a:gd name="connsiteX35" fmla="*/ 25834 w 51323"/>
                <a:gd name="connsiteY35" fmla="*/ 16215 h 51323"/>
                <a:gd name="connsiteX36" fmla="*/ 26297 w 51323"/>
                <a:gd name="connsiteY36" fmla="*/ 16060 h 51323"/>
                <a:gd name="connsiteX37" fmla="*/ 26297 w 51323"/>
                <a:gd name="connsiteY37" fmla="*/ 16060 h 51323"/>
                <a:gd name="connsiteX38" fmla="*/ 26297 w 51323"/>
                <a:gd name="connsiteY38" fmla="*/ 15785 h 51323"/>
                <a:gd name="connsiteX39" fmla="*/ 26194 w 51323"/>
                <a:gd name="connsiteY39" fmla="*/ 15785 h 51323"/>
                <a:gd name="connsiteX40" fmla="*/ 26194 w 51323"/>
                <a:gd name="connsiteY40" fmla="*/ 15785 h 51323"/>
                <a:gd name="connsiteX41" fmla="*/ 26194 w 51323"/>
                <a:gd name="connsiteY41" fmla="*/ 15493 h 51323"/>
                <a:gd name="connsiteX42" fmla="*/ 25834 w 51323"/>
                <a:gd name="connsiteY42" fmla="*/ 15493 h 51323"/>
                <a:gd name="connsiteX43" fmla="*/ 25834 w 51323"/>
                <a:gd name="connsiteY43" fmla="*/ 15596 h 51323"/>
                <a:gd name="connsiteX44" fmla="*/ 25713 w 51323"/>
                <a:gd name="connsiteY44" fmla="*/ 15596 h 51323"/>
                <a:gd name="connsiteX45" fmla="*/ 25713 w 51323"/>
                <a:gd name="connsiteY45" fmla="*/ 15459 h 51323"/>
                <a:gd name="connsiteX46" fmla="*/ 25713 w 51323"/>
                <a:gd name="connsiteY46" fmla="*/ 15459 h 51323"/>
                <a:gd name="connsiteX47" fmla="*/ 25816 w 51323"/>
                <a:gd name="connsiteY47" fmla="*/ 15236 h 51323"/>
                <a:gd name="connsiteX48" fmla="*/ 25816 w 51323"/>
                <a:gd name="connsiteY48" fmla="*/ 15064 h 51323"/>
                <a:gd name="connsiteX49" fmla="*/ 25816 w 51323"/>
                <a:gd name="connsiteY49" fmla="*/ 14961 h 51323"/>
                <a:gd name="connsiteX50" fmla="*/ 25816 w 51323"/>
                <a:gd name="connsiteY50" fmla="*/ 15081 h 51323"/>
                <a:gd name="connsiteX51" fmla="*/ 25816 w 51323"/>
                <a:gd name="connsiteY51" fmla="*/ 15081 h 51323"/>
                <a:gd name="connsiteX52" fmla="*/ 25816 w 51323"/>
                <a:gd name="connsiteY52" fmla="*/ 15081 h 51323"/>
                <a:gd name="connsiteX53" fmla="*/ 25816 w 51323"/>
                <a:gd name="connsiteY53" fmla="*/ 15081 h 51323"/>
                <a:gd name="connsiteX54" fmla="*/ 25816 w 51323"/>
                <a:gd name="connsiteY54" fmla="*/ 15356 h 51323"/>
                <a:gd name="connsiteX55" fmla="*/ 25816 w 51323"/>
                <a:gd name="connsiteY55" fmla="*/ 15167 h 51323"/>
                <a:gd name="connsiteX56" fmla="*/ 25919 w 51323"/>
                <a:gd name="connsiteY56" fmla="*/ 14823 h 51323"/>
                <a:gd name="connsiteX57" fmla="*/ 25919 w 51323"/>
                <a:gd name="connsiteY57" fmla="*/ 14823 h 51323"/>
                <a:gd name="connsiteX58" fmla="*/ 25731 w 51323"/>
                <a:gd name="connsiteY58" fmla="*/ 14823 h 51323"/>
                <a:gd name="connsiteX59" fmla="*/ 25731 w 51323"/>
                <a:gd name="connsiteY59" fmla="*/ 14823 h 51323"/>
                <a:gd name="connsiteX60" fmla="*/ 25868 w 51323"/>
                <a:gd name="connsiteY60" fmla="*/ 14737 h 51323"/>
                <a:gd name="connsiteX61" fmla="*/ 25868 w 51323"/>
                <a:gd name="connsiteY61" fmla="*/ 14737 h 51323"/>
                <a:gd name="connsiteX62" fmla="*/ 25868 w 51323"/>
                <a:gd name="connsiteY62" fmla="*/ 14737 h 51323"/>
                <a:gd name="connsiteX63" fmla="*/ 25868 w 51323"/>
                <a:gd name="connsiteY63" fmla="*/ 14737 h 51323"/>
                <a:gd name="connsiteX64" fmla="*/ 25868 w 51323"/>
                <a:gd name="connsiteY64" fmla="*/ 14737 h 51323"/>
                <a:gd name="connsiteX65" fmla="*/ 25868 w 51323"/>
                <a:gd name="connsiteY65" fmla="*/ 14737 h 51323"/>
                <a:gd name="connsiteX66" fmla="*/ 25868 w 51323"/>
                <a:gd name="connsiteY66" fmla="*/ 14652 h 51323"/>
                <a:gd name="connsiteX67" fmla="*/ 25868 w 51323"/>
                <a:gd name="connsiteY67" fmla="*/ 14652 h 51323"/>
                <a:gd name="connsiteX68" fmla="*/ 25868 w 51323"/>
                <a:gd name="connsiteY68" fmla="*/ 14514 h 51323"/>
                <a:gd name="connsiteX69" fmla="*/ 25868 w 51323"/>
                <a:gd name="connsiteY69" fmla="*/ 14514 h 51323"/>
                <a:gd name="connsiteX70" fmla="*/ 25868 w 51323"/>
                <a:gd name="connsiteY70" fmla="*/ 14514 h 51323"/>
                <a:gd name="connsiteX71" fmla="*/ 25971 w 51323"/>
                <a:gd name="connsiteY71" fmla="*/ 14514 h 51323"/>
                <a:gd name="connsiteX72" fmla="*/ 25971 w 51323"/>
                <a:gd name="connsiteY72" fmla="*/ 14428 h 51323"/>
                <a:gd name="connsiteX73" fmla="*/ 26126 w 51323"/>
                <a:gd name="connsiteY73" fmla="*/ 14291 h 51323"/>
                <a:gd name="connsiteX74" fmla="*/ 26126 w 51323"/>
                <a:gd name="connsiteY74" fmla="*/ 14291 h 51323"/>
                <a:gd name="connsiteX75" fmla="*/ 26126 w 51323"/>
                <a:gd name="connsiteY75" fmla="*/ 14531 h 51323"/>
                <a:gd name="connsiteX76" fmla="*/ 26126 w 51323"/>
                <a:gd name="connsiteY76" fmla="*/ 14531 h 51323"/>
                <a:gd name="connsiteX77" fmla="*/ 26486 w 51323"/>
                <a:gd name="connsiteY77" fmla="*/ 14531 h 51323"/>
                <a:gd name="connsiteX78" fmla="*/ 26263 w 51323"/>
                <a:gd name="connsiteY78" fmla="*/ 14995 h 51323"/>
                <a:gd name="connsiteX79" fmla="*/ 26263 w 51323"/>
                <a:gd name="connsiteY79" fmla="*/ 14995 h 51323"/>
                <a:gd name="connsiteX80" fmla="*/ 26005 w 51323"/>
                <a:gd name="connsiteY80" fmla="*/ 14995 h 51323"/>
                <a:gd name="connsiteX81" fmla="*/ 26224 w 51323"/>
                <a:gd name="connsiteY81" fmla="*/ 15000 h 51323"/>
                <a:gd name="connsiteX82" fmla="*/ 26229 w 51323"/>
                <a:gd name="connsiteY82" fmla="*/ 14995 h 51323"/>
                <a:gd name="connsiteX83" fmla="*/ 26589 w 51323"/>
                <a:gd name="connsiteY83" fmla="*/ 15579 h 51323"/>
                <a:gd name="connsiteX84" fmla="*/ 26967 w 51323"/>
                <a:gd name="connsiteY84" fmla="*/ 15613 h 51323"/>
                <a:gd name="connsiteX85" fmla="*/ 18138 w 51323"/>
                <a:gd name="connsiteY85" fmla="*/ 47476 h 51323"/>
                <a:gd name="connsiteX86" fmla="*/ 18138 w 51323"/>
                <a:gd name="connsiteY86" fmla="*/ 47476 h 51323"/>
                <a:gd name="connsiteX87" fmla="*/ 18138 w 51323"/>
                <a:gd name="connsiteY87" fmla="*/ 47476 h 51323"/>
                <a:gd name="connsiteX88" fmla="*/ 18138 w 51323"/>
                <a:gd name="connsiteY88" fmla="*/ 47476 h 51323"/>
                <a:gd name="connsiteX89" fmla="*/ 18224 w 51323"/>
                <a:gd name="connsiteY89" fmla="*/ 47476 h 51323"/>
                <a:gd name="connsiteX90" fmla="*/ 18224 w 51323"/>
                <a:gd name="connsiteY90" fmla="*/ 47476 h 51323"/>
                <a:gd name="connsiteX91" fmla="*/ 17984 w 51323"/>
                <a:gd name="connsiteY91" fmla="*/ 47338 h 51323"/>
                <a:gd name="connsiteX92" fmla="*/ 17984 w 51323"/>
                <a:gd name="connsiteY92" fmla="*/ 47338 h 51323"/>
                <a:gd name="connsiteX93" fmla="*/ 17984 w 51323"/>
                <a:gd name="connsiteY93" fmla="*/ 47338 h 51323"/>
                <a:gd name="connsiteX94" fmla="*/ 18070 w 51323"/>
                <a:gd name="connsiteY94" fmla="*/ 47338 h 51323"/>
                <a:gd name="connsiteX95" fmla="*/ 18070 w 51323"/>
                <a:gd name="connsiteY95" fmla="*/ 47338 h 51323"/>
                <a:gd name="connsiteX96" fmla="*/ 18070 w 51323"/>
                <a:gd name="connsiteY96" fmla="*/ 47338 h 51323"/>
                <a:gd name="connsiteX97" fmla="*/ 17795 w 51323"/>
                <a:gd name="connsiteY97" fmla="*/ 47218 h 51323"/>
                <a:gd name="connsiteX98" fmla="*/ 17795 w 51323"/>
                <a:gd name="connsiteY98" fmla="*/ 47218 h 51323"/>
                <a:gd name="connsiteX99" fmla="*/ 17795 w 51323"/>
                <a:gd name="connsiteY99" fmla="*/ 47218 h 51323"/>
                <a:gd name="connsiteX100" fmla="*/ 17692 w 51323"/>
                <a:gd name="connsiteY100" fmla="*/ 47218 h 51323"/>
                <a:gd name="connsiteX101" fmla="*/ 17692 w 51323"/>
                <a:gd name="connsiteY101" fmla="*/ 47218 h 51323"/>
                <a:gd name="connsiteX102" fmla="*/ 17692 w 51323"/>
                <a:gd name="connsiteY102" fmla="*/ 47218 h 51323"/>
                <a:gd name="connsiteX103" fmla="*/ 17692 w 51323"/>
                <a:gd name="connsiteY103" fmla="*/ 47218 h 51323"/>
                <a:gd name="connsiteX104" fmla="*/ 17864 w 51323"/>
                <a:gd name="connsiteY104" fmla="*/ 47218 h 51323"/>
                <a:gd name="connsiteX105" fmla="*/ 17658 w 51323"/>
                <a:gd name="connsiteY105" fmla="*/ 47218 h 51323"/>
                <a:gd name="connsiteX106" fmla="*/ 17658 w 51323"/>
                <a:gd name="connsiteY106" fmla="*/ 47218 h 51323"/>
                <a:gd name="connsiteX107" fmla="*/ 17417 w 51323"/>
                <a:gd name="connsiteY107" fmla="*/ 47115 h 51323"/>
                <a:gd name="connsiteX108" fmla="*/ 17417 w 51323"/>
                <a:gd name="connsiteY108" fmla="*/ 47115 h 51323"/>
                <a:gd name="connsiteX109" fmla="*/ 17417 w 51323"/>
                <a:gd name="connsiteY109" fmla="*/ 47115 h 51323"/>
                <a:gd name="connsiteX110" fmla="*/ 17280 w 51323"/>
                <a:gd name="connsiteY110" fmla="*/ 47115 h 51323"/>
                <a:gd name="connsiteX111" fmla="*/ 17469 w 51323"/>
                <a:gd name="connsiteY111" fmla="*/ 47218 h 51323"/>
                <a:gd name="connsiteX112" fmla="*/ 17194 w 51323"/>
                <a:gd name="connsiteY112" fmla="*/ 47081 h 51323"/>
                <a:gd name="connsiteX113" fmla="*/ 17194 w 51323"/>
                <a:gd name="connsiteY113" fmla="*/ 47081 h 51323"/>
                <a:gd name="connsiteX114" fmla="*/ 17366 w 51323"/>
                <a:gd name="connsiteY114" fmla="*/ 47081 h 51323"/>
                <a:gd name="connsiteX115" fmla="*/ 17228 w 51323"/>
                <a:gd name="connsiteY115" fmla="*/ 47081 h 51323"/>
                <a:gd name="connsiteX116" fmla="*/ 17366 w 51323"/>
                <a:gd name="connsiteY116" fmla="*/ 47081 h 51323"/>
                <a:gd name="connsiteX117" fmla="*/ 17108 w 51323"/>
                <a:gd name="connsiteY117" fmla="*/ 46961 h 51323"/>
                <a:gd name="connsiteX118" fmla="*/ 17108 w 51323"/>
                <a:gd name="connsiteY118" fmla="*/ 46961 h 51323"/>
                <a:gd name="connsiteX119" fmla="*/ 17005 w 51323"/>
                <a:gd name="connsiteY119" fmla="*/ 46961 h 51323"/>
                <a:gd name="connsiteX120" fmla="*/ 17005 w 51323"/>
                <a:gd name="connsiteY120" fmla="*/ 46961 h 51323"/>
                <a:gd name="connsiteX121" fmla="*/ 16782 w 51323"/>
                <a:gd name="connsiteY121" fmla="*/ 46858 h 51323"/>
                <a:gd name="connsiteX122" fmla="*/ 16782 w 51323"/>
                <a:gd name="connsiteY122" fmla="*/ 46858 h 51323"/>
                <a:gd name="connsiteX123" fmla="*/ 16696 w 51323"/>
                <a:gd name="connsiteY123" fmla="*/ 46858 h 51323"/>
                <a:gd name="connsiteX124" fmla="*/ 16696 w 51323"/>
                <a:gd name="connsiteY124" fmla="*/ 46858 h 51323"/>
                <a:gd name="connsiteX125" fmla="*/ 16301 w 51323"/>
                <a:gd name="connsiteY125" fmla="*/ 46651 h 51323"/>
                <a:gd name="connsiteX126" fmla="*/ 16301 w 51323"/>
                <a:gd name="connsiteY126" fmla="*/ 46651 h 51323"/>
                <a:gd name="connsiteX127" fmla="*/ 16129 w 51323"/>
                <a:gd name="connsiteY127" fmla="*/ 46548 h 51323"/>
                <a:gd name="connsiteX128" fmla="*/ 16283 w 51323"/>
                <a:gd name="connsiteY128" fmla="*/ 46651 h 51323"/>
                <a:gd name="connsiteX129" fmla="*/ 15940 w 51323"/>
                <a:gd name="connsiteY129" fmla="*/ 46462 h 51323"/>
                <a:gd name="connsiteX130" fmla="*/ 15940 w 51323"/>
                <a:gd name="connsiteY130" fmla="*/ 46462 h 51323"/>
                <a:gd name="connsiteX131" fmla="*/ 15837 w 51323"/>
                <a:gd name="connsiteY131" fmla="*/ 46462 h 51323"/>
                <a:gd name="connsiteX132" fmla="*/ 15837 w 51323"/>
                <a:gd name="connsiteY132" fmla="*/ 46462 h 51323"/>
                <a:gd name="connsiteX133" fmla="*/ 15665 w 51323"/>
                <a:gd name="connsiteY133" fmla="*/ 46359 h 51323"/>
                <a:gd name="connsiteX134" fmla="*/ 15665 w 51323"/>
                <a:gd name="connsiteY134" fmla="*/ 46359 h 51323"/>
                <a:gd name="connsiteX135" fmla="*/ 15665 w 51323"/>
                <a:gd name="connsiteY135" fmla="*/ 46359 h 51323"/>
                <a:gd name="connsiteX136" fmla="*/ 15665 w 51323"/>
                <a:gd name="connsiteY136" fmla="*/ 46359 h 51323"/>
                <a:gd name="connsiteX137" fmla="*/ 15510 w 51323"/>
                <a:gd name="connsiteY137" fmla="*/ 46274 h 51323"/>
                <a:gd name="connsiteX138" fmla="*/ 15510 w 51323"/>
                <a:gd name="connsiteY138" fmla="*/ 46274 h 51323"/>
                <a:gd name="connsiteX139" fmla="*/ 15339 w 51323"/>
                <a:gd name="connsiteY139" fmla="*/ 46153 h 51323"/>
                <a:gd name="connsiteX140" fmla="*/ 15339 w 51323"/>
                <a:gd name="connsiteY140" fmla="*/ 46153 h 51323"/>
                <a:gd name="connsiteX141" fmla="*/ 15201 w 51323"/>
                <a:gd name="connsiteY141" fmla="*/ 46153 h 51323"/>
                <a:gd name="connsiteX142" fmla="*/ 15201 w 51323"/>
                <a:gd name="connsiteY142" fmla="*/ 46153 h 51323"/>
                <a:gd name="connsiteX143" fmla="*/ 15081 w 51323"/>
                <a:gd name="connsiteY143" fmla="*/ 46153 h 51323"/>
                <a:gd name="connsiteX144" fmla="*/ 15081 w 51323"/>
                <a:gd name="connsiteY144" fmla="*/ 46153 h 51323"/>
                <a:gd name="connsiteX145" fmla="*/ 15218 w 51323"/>
                <a:gd name="connsiteY145" fmla="*/ 46239 h 51323"/>
                <a:gd name="connsiteX146" fmla="*/ 15081 w 51323"/>
                <a:gd name="connsiteY146" fmla="*/ 46153 h 51323"/>
                <a:gd name="connsiteX147" fmla="*/ 15081 w 51323"/>
                <a:gd name="connsiteY147" fmla="*/ 46153 h 51323"/>
                <a:gd name="connsiteX148" fmla="*/ 14961 w 51323"/>
                <a:gd name="connsiteY148" fmla="*/ 46153 h 51323"/>
                <a:gd name="connsiteX149" fmla="*/ 14961 w 51323"/>
                <a:gd name="connsiteY149" fmla="*/ 46153 h 51323"/>
                <a:gd name="connsiteX150" fmla="*/ 14823 w 51323"/>
                <a:gd name="connsiteY150" fmla="*/ 46067 h 51323"/>
                <a:gd name="connsiteX151" fmla="*/ 15012 w 51323"/>
                <a:gd name="connsiteY151" fmla="*/ 46170 h 51323"/>
                <a:gd name="connsiteX152" fmla="*/ 15184 w 51323"/>
                <a:gd name="connsiteY152" fmla="*/ 46274 h 51323"/>
                <a:gd name="connsiteX153" fmla="*/ 14720 w 51323"/>
                <a:gd name="connsiteY153" fmla="*/ 45947 h 51323"/>
                <a:gd name="connsiteX154" fmla="*/ 14720 w 51323"/>
                <a:gd name="connsiteY154" fmla="*/ 45947 h 51323"/>
                <a:gd name="connsiteX155" fmla="*/ 13879 w 51323"/>
                <a:gd name="connsiteY155" fmla="*/ 45312 h 51323"/>
                <a:gd name="connsiteX156" fmla="*/ 13982 w 51323"/>
                <a:gd name="connsiteY156" fmla="*/ 45312 h 51323"/>
                <a:gd name="connsiteX157" fmla="*/ 13827 w 51323"/>
                <a:gd name="connsiteY157" fmla="*/ 45191 h 51323"/>
                <a:gd name="connsiteX158" fmla="*/ 13827 w 51323"/>
                <a:gd name="connsiteY158" fmla="*/ 45191 h 51323"/>
                <a:gd name="connsiteX159" fmla="*/ 13724 w 51323"/>
                <a:gd name="connsiteY159" fmla="*/ 45191 h 51323"/>
                <a:gd name="connsiteX160" fmla="*/ 13724 w 51323"/>
                <a:gd name="connsiteY160" fmla="*/ 45191 h 51323"/>
                <a:gd name="connsiteX161" fmla="*/ 13724 w 51323"/>
                <a:gd name="connsiteY161" fmla="*/ 45191 h 51323"/>
                <a:gd name="connsiteX162" fmla="*/ 13724 w 51323"/>
                <a:gd name="connsiteY162" fmla="*/ 45191 h 51323"/>
                <a:gd name="connsiteX163" fmla="*/ 13106 w 51323"/>
                <a:gd name="connsiteY163" fmla="*/ 44710 h 51323"/>
                <a:gd name="connsiteX164" fmla="*/ 13106 w 51323"/>
                <a:gd name="connsiteY164" fmla="*/ 44710 h 51323"/>
                <a:gd name="connsiteX165" fmla="*/ 12316 w 51323"/>
                <a:gd name="connsiteY165" fmla="*/ 44023 h 51323"/>
                <a:gd name="connsiteX166" fmla="*/ 12316 w 51323"/>
                <a:gd name="connsiteY166" fmla="*/ 44023 h 51323"/>
                <a:gd name="connsiteX167" fmla="*/ 9567 w 51323"/>
                <a:gd name="connsiteY167" fmla="*/ 40434 h 51323"/>
                <a:gd name="connsiteX168" fmla="*/ 9567 w 51323"/>
                <a:gd name="connsiteY168" fmla="*/ 40434 h 51323"/>
                <a:gd name="connsiteX169" fmla="*/ 8021 w 51323"/>
                <a:gd name="connsiteY169" fmla="*/ 37788 h 51323"/>
                <a:gd name="connsiteX170" fmla="*/ 8021 w 51323"/>
                <a:gd name="connsiteY170" fmla="*/ 37788 h 51323"/>
                <a:gd name="connsiteX171" fmla="*/ 5840 w 51323"/>
                <a:gd name="connsiteY171" fmla="*/ 33494 h 51323"/>
                <a:gd name="connsiteX172" fmla="*/ 5840 w 51323"/>
                <a:gd name="connsiteY172" fmla="*/ 33580 h 51323"/>
                <a:gd name="connsiteX173" fmla="*/ 5840 w 51323"/>
                <a:gd name="connsiteY173" fmla="*/ 33477 h 51323"/>
                <a:gd name="connsiteX174" fmla="*/ 5840 w 51323"/>
                <a:gd name="connsiteY174" fmla="*/ 33614 h 51323"/>
                <a:gd name="connsiteX175" fmla="*/ 5222 w 51323"/>
                <a:gd name="connsiteY175" fmla="*/ 30299 h 51323"/>
                <a:gd name="connsiteX176" fmla="*/ 5222 w 51323"/>
                <a:gd name="connsiteY176" fmla="*/ 30042 h 51323"/>
                <a:gd name="connsiteX177" fmla="*/ 5222 w 51323"/>
                <a:gd name="connsiteY177" fmla="*/ 30128 h 51323"/>
                <a:gd name="connsiteX178" fmla="*/ 5067 w 51323"/>
                <a:gd name="connsiteY178" fmla="*/ 29784 h 51323"/>
                <a:gd name="connsiteX179" fmla="*/ 5067 w 51323"/>
                <a:gd name="connsiteY179" fmla="*/ 29784 h 51323"/>
                <a:gd name="connsiteX180" fmla="*/ 5067 w 51323"/>
                <a:gd name="connsiteY180" fmla="*/ 29784 h 51323"/>
                <a:gd name="connsiteX181" fmla="*/ 5067 w 51323"/>
                <a:gd name="connsiteY181" fmla="*/ 29544 h 51323"/>
                <a:gd name="connsiteX182" fmla="*/ 5067 w 51323"/>
                <a:gd name="connsiteY182" fmla="*/ 29715 h 51323"/>
                <a:gd name="connsiteX183" fmla="*/ 4844 w 51323"/>
                <a:gd name="connsiteY183" fmla="*/ 28908 h 51323"/>
                <a:gd name="connsiteX184" fmla="*/ 4844 w 51323"/>
                <a:gd name="connsiteY184" fmla="*/ 29183 h 51323"/>
                <a:gd name="connsiteX185" fmla="*/ 4552 w 51323"/>
                <a:gd name="connsiteY185" fmla="*/ 27843 h 51323"/>
                <a:gd name="connsiteX186" fmla="*/ 4552 w 51323"/>
                <a:gd name="connsiteY186" fmla="*/ 27740 h 51323"/>
                <a:gd name="connsiteX187" fmla="*/ 4552 w 51323"/>
                <a:gd name="connsiteY187" fmla="*/ 27740 h 51323"/>
                <a:gd name="connsiteX188" fmla="*/ 4552 w 51323"/>
                <a:gd name="connsiteY188" fmla="*/ 27740 h 51323"/>
                <a:gd name="connsiteX189" fmla="*/ 4552 w 51323"/>
                <a:gd name="connsiteY189" fmla="*/ 27740 h 51323"/>
                <a:gd name="connsiteX190" fmla="*/ 4208 w 51323"/>
                <a:gd name="connsiteY190" fmla="*/ 26297 h 51323"/>
                <a:gd name="connsiteX191" fmla="*/ 4208 w 51323"/>
                <a:gd name="connsiteY191" fmla="*/ 26503 h 51323"/>
                <a:gd name="connsiteX192" fmla="*/ 4208 w 51323"/>
                <a:gd name="connsiteY192" fmla="*/ 26297 h 51323"/>
                <a:gd name="connsiteX193" fmla="*/ 4208 w 51323"/>
                <a:gd name="connsiteY193" fmla="*/ 26297 h 51323"/>
                <a:gd name="connsiteX194" fmla="*/ 4208 w 51323"/>
                <a:gd name="connsiteY194" fmla="*/ 26297 h 51323"/>
                <a:gd name="connsiteX195" fmla="*/ 4208 w 51323"/>
                <a:gd name="connsiteY195" fmla="*/ 26297 h 51323"/>
                <a:gd name="connsiteX196" fmla="*/ 4208 w 51323"/>
                <a:gd name="connsiteY196" fmla="*/ 26297 h 51323"/>
                <a:gd name="connsiteX197" fmla="*/ 4208 w 51323"/>
                <a:gd name="connsiteY197" fmla="*/ 26400 h 51323"/>
                <a:gd name="connsiteX198" fmla="*/ 4208 w 51323"/>
                <a:gd name="connsiteY198" fmla="*/ 26400 h 51323"/>
                <a:gd name="connsiteX199" fmla="*/ 4208 w 51323"/>
                <a:gd name="connsiteY199" fmla="*/ 26400 h 51323"/>
                <a:gd name="connsiteX200" fmla="*/ 4208 w 51323"/>
                <a:gd name="connsiteY200" fmla="*/ 26400 h 51323"/>
                <a:gd name="connsiteX201" fmla="*/ 4208 w 51323"/>
                <a:gd name="connsiteY201" fmla="*/ 26091 h 51323"/>
                <a:gd name="connsiteX202" fmla="*/ 4208 w 51323"/>
                <a:gd name="connsiteY202" fmla="*/ 26091 h 51323"/>
                <a:gd name="connsiteX203" fmla="*/ 4208 w 51323"/>
                <a:gd name="connsiteY203" fmla="*/ 25919 h 51323"/>
                <a:gd name="connsiteX204" fmla="*/ 4208 w 51323"/>
                <a:gd name="connsiteY204" fmla="*/ 25919 h 51323"/>
                <a:gd name="connsiteX205" fmla="*/ 4208 w 51323"/>
                <a:gd name="connsiteY205" fmla="*/ 25198 h 51323"/>
                <a:gd name="connsiteX206" fmla="*/ 4208 w 51323"/>
                <a:gd name="connsiteY206" fmla="*/ 25198 h 51323"/>
                <a:gd name="connsiteX207" fmla="*/ 4208 w 51323"/>
                <a:gd name="connsiteY207" fmla="*/ 25078 h 51323"/>
                <a:gd name="connsiteX208" fmla="*/ 4208 w 51323"/>
                <a:gd name="connsiteY208" fmla="*/ 25078 h 51323"/>
                <a:gd name="connsiteX209" fmla="*/ 19787 w 51323"/>
                <a:gd name="connsiteY209" fmla="*/ 4706 h 51323"/>
                <a:gd name="connsiteX210" fmla="*/ 19787 w 51323"/>
                <a:gd name="connsiteY210" fmla="*/ 4706 h 51323"/>
                <a:gd name="connsiteX211" fmla="*/ 19994 w 51323"/>
                <a:gd name="connsiteY211" fmla="*/ 4706 h 51323"/>
                <a:gd name="connsiteX212" fmla="*/ 19994 w 51323"/>
                <a:gd name="connsiteY212" fmla="*/ 4706 h 51323"/>
                <a:gd name="connsiteX213" fmla="*/ 20217 w 51323"/>
                <a:gd name="connsiteY213" fmla="*/ 4706 h 51323"/>
                <a:gd name="connsiteX214" fmla="*/ 20062 w 51323"/>
                <a:gd name="connsiteY214" fmla="*/ 4706 h 51323"/>
                <a:gd name="connsiteX215" fmla="*/ 20337 w 51323"/>
                <a:gd name="connsiteY215" fmla="*/ 4706 h 51323"/>
                <a:gd name="connsiteX216" fmla="*/ 20234 w 51323"/>
                <a:gd name="connsiteY216" fmla="*/ 4706 h 51323"/>
                <a:gd name="connsiteX217" fmla="*/ 20234 w 51323"/>
                <a:gd name="connsiteY217" fmla="*/ 4706 h 51323"/>
                <a:gd name="connsiteX218" fmla="*/ 20423 w 51323"/>
                <a:gd name="connsiteY218" fmla="*/ 4706 h 51323"/>
                <a:gd name="connsiteX219" fmla="*/ 20423 w 51323"/>
                <a:gd name="connsiteY219" fmla="*/ 4706 h 51323"/>
                <a:gd name="connsiteX220" fmla="*/ 21711 w 51323"/>
                <a:gd name="connsiteY220" fmla="*/ 4414 h 51323"/>
                <a:gd name="connsiteX221" fmla="*/ 21711 w 51323"/>
                <a:gd name="connsiteY221" fmla="*/ 4414 h 51323"/>
                <a:gd name="connsiteX222" fmla="*/ 22038 w 51323"/>
                <a:gd name="connsiteY222" fmla="*/ 4414 h 51323"/>
                <a:gd name="connsiteX223" fmla="*/ 21814 w 51323"/>
                <a:gd name="connsiteY223" fmla="*/ 4414 h 51323"/>
                <a:gd name="connsiteX224" fmla="*/ 21814 w 51323"/>
                <a:gd name="connsiteY224" fmla="*/ 4414 h 51323"/>
                <a:gd name="connsiteX225" fmla="*/ 22415 w 51323"/>
                <a:gd name="connsiteY225" fmla="*/ 4414 h 51323"/>
                <a:gd name="connsiteX226" fmla="*/ 22415 w 51323"/>
                <a:gd name="connsiteY226" fmla="*/ 4414 h 51323"/>
                <a:gd name="connsiteX227" fmla="*/ 22106 w 51323"/>
                <a:gd name="connsiteY227" fmla="*/ 4414 h 51323"/>
                <a:gd name="connsiteX228" fmla="*/ 22398 w 51323"/>
                <a:gd name="connsiteY228" fmla="*/ 4414 h 51323"/>
                <a:gd name="connsiteX229" fmla="*/ 22398 w 51323"/>
                <a:gd name="connsiteY229" fmla="*/ 4414 h 51323"/>
                <a:gd name="connsiteX230" fmla="*/ 22690 w 51323"/>
                <a:gd name="connsiteY230" fmla="*/ 4414 h 51323"/>
                <a:gd name="connsiteX231" fmla="*/ 22587 w 51323"/>
                <a:gd name="connsiteY231" fmla="*/ 4414 h 51323"/>
                <a:gd name="connsiteX232" fmla="*/ 22484 w 51323"/>
                <a:gd name="connsiteY232" fmla="*/ 4414 h 51323"/>
                <a:gd name="connsiteX233" fmla="*/ 22725 w 51323"/>
                <a:gd name="connsiteY233" fmla="*/ 4414 h 51323"/>
                <a:gd name="connsiteX234" fmla="*/ 22347 w 51323"/>
                <a:gd name="connsiteY234" fmla="*/ 4414 h 51323"/>
                <a:gd name="connsiteX235" fmla="*/ 22244 w 51323"/>
                <a:gd name="connsiteY235" fmla="*/ 4414 h 51323"/>
                <a:gd name="connsiteX236" fmla="*/ 22055 w 51323"/>
                <a:gd name="connsiteY236" fmla="*/ 4414 h 51323"/>
                <a:gd name="connsiteX237" fmla="*/ 22415 w 51323"/>
                <a:gd name="connsiteY237" fmla="*/ 4414 h 51323"/>
                <a:gd name="connsiteX238" fmla="*/ 22020 w 51323"/>
                <a:gd name="connsiteY238" fmla="*/ 4414 h 51323"/>
                <a:gd name="connsiteX239" fmla="*/ 22020 w 51323"/>
                <a:gd name="connsiteY239" fmla="*/ 4414 h 51323"/>
                <a:gd name="connsiteX240" fmla="*/ 21608 w 51323"/>
                <a:gd name="connsiteY240" fmla="*/ 4414 h 51323"/>
                <a:gd name="connsiteX241" fmla="*/ 21608 w 51323"/>
                <a:gd name="connsiteY241" fmla="*/ 4414 h 51323"/>
                <a:gd name="connsiteX242" fmla="*/ 21213 w 51323"/>
                <a:gd name="connsiteY242" fmla="*/ 4500 h 51323"/>
                <a:gd name="connsiteX243" fmla="*/ 21385 w 51323"/>
                <a:gd name="connsiteY243" fmla="*/ 4500 h 51323"/>
                <a:gd name="connsiteX244" fmla="*/ 21385 w 51323"/>
                <a:gd name="connsiteY244" fmla="*/ 4500 h 51323"/>
                <a:gd name="connsiteX245" fmla="*/ 20973 w 51323"/>
                <a:gd name="connsiteY245" fmla="*/ 4586 h 51323"/>
                <a:gd name="connsiteX246" fmla="*/ 21144 w 51323"/>
                <a:gd name="connsiteY246" fmla="*/ 4586 h 51323"/>
                <a:gd name="connsiteX247" fmla="*/ 20955 w 51323"/>
                <a:gd name="connsiteY247" fmla="*/ 4586 h 51323"/>
                <a:gd name="connsiteX248" fmla="*/ 20955 w 51323"/>
                <a:gd name="connsiteY248" fmla="*/ 4586 h 51323"/>
                <a:gd name="connsiteX249" fmla="*/ 20835 w 51323"/>
                <a:gd name="connsiteY249" fmla="*/ 4586 h 51323"/>
                <a:gd name="connsiteX250" fmla="*/ 20835 w 51323"/>
                <a:gd name="connsiteY250" fmla="*/ 4586 h 51323"/>
                <a:gd name="connsiteX251" fmla="*/ 20835 w 51323"/>
                <a:gd name="connsiteY251" fmla="*/ 4586 h 51323"/>
                <a:gd name="connsiteX252" fmla="*/ 20835 w 51323"/>
                <a:gd name="connsiteY252" fmla="*/ 4586 h 51323"/>
                <a:gd name="connsiteX253" fmla="*/ 20835 w 51323"/>
                <a:gd name="connsiteY253" fmla="*/ 4586 h 51323"/>
                <a:gd name="connsiteX254" fmla="*/ 20663 w 51323"/>
                <a:gd name="connsiteY254" fmla="*/ 4586 h 51323"/>
                <a:gd name="connsiteX255" fmla="*/ 20663 w 51323"/>
                <a:gd name="connsiteY255" fmla="*/ 4586 h 51323"/>
                <a:gd name="connsiteX256" fmla="*/ 20663 w 51323"/>
                <a:gd name="connsiteY256" fmla="*/ 4586 h 51323"/>
                <a:gd name="connsiteX257" fmla="*/ 20663 w 51323"/>
                <a:gd name="connsiteY257" fmla="*/ 4586 h 51323"/>
                <a:gd name="connsiteX258" fmla="*/ 20560 w 51323"/>
                <a:gd name="connsiteY258" fmla="*/ 4586 h 51323"/>
                <a:gd name="connsiteX259" fmla="*/ 20560 w 51323"/>
                <a:gd name="connsiteY259" fmla="*/ 4586 h 51323"/>
                <a:gd name="connsiteX260" fmla="*/ 20114 w 51323"/>
                <a:gd name="connsiteY260" fmla="*/ 4706 h 51323"/>
                <a:gd name="connsiteX261" fmla="*/ 20114 w 51323"/>
                <a:gd name="connsiteY261" fmla="*/ 4706 h 51323"/>
                <a:gd name="connsiteX262" fmla="*/ 19787 w 51323"/>
                <a:gd name="connsiteY262" fmla="*/ 4827 h 51323"/>
                <a:gd name="connsiteX263" fmla="*/ 19787 w 51323"/>
                <a:gd name="connsiteY263" fmla="*/ 4827 h 51323"/>
                <a:gd name="connsiteX264" fmla="*/ 19392 w 51323"/>
                <a:gd name="connsiteY264" fmla="*/ 4947 h 51323"/>
                <a:gd name="connsiteX265" fmla="*/ 19392 w 51323"/>
                <a:gd name="connsiteY265" fmla="*/ 4947 h 51323"/>
                <a:gd name="connsiteX266" fmla="*/ 19100 w 51323"/>
                <a:gd name="connsiteY266" fmla="*/ 5153 h 51323"/>
                <a:gd name="connsiteX267" fmla="*/ 19100 w 51323"/>
                <a:gd name="connsiteY267" fmla="*/ 5153 h 51323"/>
                <a:gd name="connsiteX268" fmla="*/ 18997 w 51323"/>
                <a:gd name="connsiteY268" fmla="*/ 5153 h 51323"/>
                <a:gd name="connsiteX269" fmla="*/ 18997 w 51323"/>
                <a:gd name="connsiteY269" fmla="*/ 5153 h 51323"/>
                <a:gd name="connsiteX270" fmla="*/ 18430 w 51323"/>
                <a:gd name="connsiteY270" fmla="*/ 5359 h 51323"/>
                <a:gd name="connsiteX271" fmla="*/ 18568 w 51323"/>
                <a:gd name="connsiteY271" fmla="*/ 5359 h 51323"/>
                <a:gd name="connsiteX272" fmla="*/ 18568 w 51323"/>
                <a:gd name="connsiteY272" fmla="*/ 5359 h 51323"/>
                <a:gd name="connsiteX273" fmla="*/ 19169 w 51323"/>
                <a:gd name="connsiteY273" fmla="*/ 5187 h 51323"/>
                <a:gd name="connsiteX274" fmla="*/ 19169 w 51323"/>
                <a:gd name="connsiteY274" fmla="*/ 5187 h 51323"/>
                <a:gd name="connsiteX275" fmla="*/ 19341 w 51323"/>
                <a:gd name="connsiteY275" fmla="*/ 5187 h 51323"/>
                <a:gd name="connsiteX276" fmla="*/ 19461 w 51323"/>
                <a:gd name="connsiteY276" fmla="*/ 5187 h 51323"/>
                <a:gd name="connsiteX277" fmla="*/ 19186 w 51323"/>
                <a:gd name="connsiteY277" fmla="*/ 5187 h 51323"/>
                <a:gd name="connsiteX278" fmla="*/ 19186 w 51323"/>
                <a:gd name="connsiteY278" fmla="*/ 5187 h 51323"/>
                <a:gd name="connsiteX279" fmla="*/ 19032 w 51323"/>
                <a:gd name="connsiteY279" fmla="*/ 5187 h 51323"/>
                <a:gd name="connsiteX280" fmla="*/ 19032 w 51323"/>
                <a:gd name="connsiteY280" fmla="*/ 5187 h 51323"/>
                <a:gd name="connsiteX281" fmla="*/ 18911 w 51323"/>
                <a:gd name="connsiteY281" fmla="*/ 5187 h 51323"/>
                <a:gd name="connsiteX282" fmla="*/ 18911 w 51323"/>
                <a:gd name="connsiteY282" fmla="*/ 5187 h 51323"/>
                <a:gd name="connsiteX283" fmla="*/ 18740 w 51323"/>
                <a:gd name="connsiteY283" fmla="*/ 5187 h 51323"/>
                <a:gd name="connsiteX284" fmla="*/ 18740 w 51323"/>
                <a:gd name="connsiteY284" fmla="*/ 5187 h 51323"/>
                <a:gd name="connsiteX285" fmla="*/ 18894 w 51323"/>
                <a:gd name="connsiteY285" fmla="*/ 5187 h 51323"/>
                <a:gd name="connsiteX286" fmla="*/ 18894 w 51323"/>
                <a:gd name="connsiteY286" fmla="*/ 5187 h 51323"/>
                <a:gd name="connsiteX287" fmla="*/ 19049 w 51323"/>
                <a:gd name="connsiteY287" fmla="*/ 5187 h 51323"/>
                <a:gd name="connsiteX288" fmla="*/ 19049 w 51323"/>
                <a:gd name="connsiteY288" fmla="*/ 5187 h 51323"/>
                <a:gd name="connsiteX289" fmla="*/ 18860 w 51323"/>
                <a:gd name="connsiteY289" fmla="*/ 5187 h 51323"/>
                <a:gd name="connsiteX290" fmla="*/ 19032 w 51323"/>
                <a:gd name="connsiteY290" fmla="*/ 5187 h 51323"/>
                <a:gd name="connsiteX291" fmla="*/ 19186 w 51323"/>
                <a:gd name="connsiteY291" fmla="*/ 5187 h 51323"/>
                <a:gd name="connsiteX292" fmla="*/ 19289 w 51323"/>
                <a:gd name="connsiteY292" fmla="*/ 5187 h 51323"/>
                <a:gd name="connsiteX293" fmla="*/ 19650 w 51323"/>
                <a:gd name="connsiteY293" fmla="*/ 5084 h 51323"/>
                <a:gd name="connsiteX294" fmla="*/ 18482 w 51323"/>
                <a:gd name="connsiteY294" fmla="*/ 5497 h 51323"/>
                <a:gd name="connsiteX295" fmla="*/ 18654 w 51323"/>
                <a:gd name="connsiteY295" fmla="*/ 5497 h 51323"/>
                <a:gd name="connsiteX296" fmla="*/ 18654 w 51323"/>
                <a:gd name="connsiteY296" fmla="*/ 5497 h 51323"/>
                <a:gd name="connsiteX297" fmla="*/ 18740 w 51323"/>
                <a:gd name="connsiteY297" fmla="*/ 5497 h 51323"/>
                <a:gd name="connsiteX298" fmla="*/ 18894 w 51323"/>
                <a:gd name="connsiteY298" fmla="*/ 5497 h 51323"/>
                <a:gd name="connsiteX299" fmla="*/ 18894 w 51323"/>
                <a:gd name="connsiteY299" fmla="*/ 5497 h 51323"/>
                <a:gd name="connsiteX300" fmla="*/ 19032 w 51323"/>
                <a:gd name="connsiteY300" fmla="*/ 5497 h 51323"/>
                <a:gd name="connsiteX301" fmla="*/ 18722 w 51323"/>
                <a:gd name="connsiteY301" fmla="*/ 5617 h 51323"/>
                <a:gd name="connsiteX302" fmla="*/ 18722 w 51323"/>
                <a:gd name="connsiteY302" fmla="*/ 5617 h 51323"/>
                <a:gd name="connsiteX303" fmla="*/ 18585 w 51323"/>
                <a:gd name="connsiteY303" fmla="*/ 5617 h 51323"/>
                <a:gd name="connsiteX304" fmla="*/ 18585 w 51323"/>
                <a:gd name="connsiteY304" fmla="*/ 5617 h 51323"/>
                <a:gd name="connsiteX305" fmla="*/ 18413 w 51323"/>
                <a:gd name="connsiteY305" fmla="*/ 5617 h 51323"/>
                <a:gd name="connsiteX306" fmla="*/ 18688 w 51323"/>
                <a:gd name="connsiteY306" fmla="*/ 5617 h 51323"/>
                <a:gd name="connsiteX307" fmla="*/ 17743 w 51323"/>
                <a:gd name="connsiteY307" fmla="*/ 6098 h 51323"/>
                <a:gd name="connsiteX308" fmla="*/ 17743 w 51323"/>
                <a:gd name="connsiteY308" fmla="*/ 6098 h 51323"/>
                <a:gd name="connsiteX309" fmla="*/ 17554 w 51323"/>
                <a:gd name="connsiteY309" fmla="*/ 6201 h 51323"/>
                <a:gd name="connsiteX310" fmla="*/ 17743 w 51323"/>
                <a:gd name="connsiteY310" fmla="*/ 6201 h 51323"/>
                <a:gd name="connsiteX311" fmla="*/ 17743 w 51323"/>
                <a:gd name="connsiteY311" fmla="*/ 6201 h 51323"/>
                <a:gd name="connsiteX312" fmla="*/ 17743 w 51323"/>
                <a:gd name="connsiteY312" fmla="*/ 6201 h 51323"/>
                <a:gd name="connsiteX313" fmla="*/ 17159 w 51323"/>
                <a:gd name="connsiteY313" fmla="*/ 6476 h 51323"/>
                <a:gd name="connsiteX314" fmla="*/ 17159 w 51323"/>
                <a:gd name="connsiteY314" fmla="*/ 6476 h 51323"/>
                <a:gd name="connsiteX315" fmla="*/ 17039 w 51323"/>
                <a:gd name="connsiteY315" fmla="*/ 6476 h 51323"/>
                <a:gd name="connsiteX316" fmla="*/ 17039 w 51323"/>
                <a:gd name="connsiteY316" fmla="*/ 6476 h 51323"/>
                <a:gd name="connsiteX317" fmla="*/ 16867 w 51323"/>
                <a:gd name="connsiteY317" fmla="*/ 6579 h 51323"/>
                <a:gd name="connsiteX318" fmla="*/ 16867 w 51323"/>
                <a:gd name="connsiteY318" fmla="*/ 6579 h 51323"/>
                <a:gd name="connsiteX319" fmla="*/ 16730 w 51323"/>
                <a:gd name="connsiteY319" fmla="*/ 6716 h 51323"/>
                <a:gd name="connsiteX320" fmla="*/ 16730 w 51323"/>
                <a:gd name="connsiteY320" fmla="*/ 6716 h 51323"/>
                <a:gd name="connsiteX321" fmla="*/ 16730 w 51323"/>
                <a:gd name="connsiteY321" fmla="*/ 6716 h 51323"/>
                <a:gd name="connsiteX322" fmla="*/ 16730 w 51323"/>
                <a:gd name="connsiteY322" fmla="*/ 6716 h 51323"/>
                <a:gd name="connsiteX323" fmla="*/ 16730 w 51323"/>
                <a:gd name="connsiteY323" fmla="*/ 6716 h 51323"/>
                <a:gd name="connsiteX324" fmla="*/ 16885 w 51323"/>
                <a:gd name="connsiteY324" fmla="*/ 6716 h 51323"/>
                <a:gd name="connsiteX325" fmla="*/ 16627 w 51323"/>
                <a:gd name="connsiteY325" fmla="*/ 6853 h 51323"/>
                <a:gd name="connsiteX326" fmla="*/ 16627 w 51323"/>
                <a:gd name="connsiteY326" fmla="*/ 6853 h 51323"/>
                <a:gd name="connsiteX327" fmla="*/ 16386 w 51323"/>
                <a:gd name="connsiteY327" fmla="*/ 6991 h 51323"/>
                <a:gd name="connsiteX328" fmla="*/ 16558 w 51323"/>
                <a:gd name="connsiteY328" fmla="*/ 6991 h 51323"/>
                <a:gd name="connsiteX329" fmla="*/ 16077 w 51323"/>
                <a:gd name="connsiteY329" fmla="*/ 7266 h 51323"/>
                <a:gd name="connsiteX330" fmla="*/ 16077 w 51323"/>
                <a:gd name="connsiteY330" fmla="*/ 7266 h 51323"/>
                <a:gd name="connsiteX331" fmla="*/ 16077 w 51323"/>
                <a:gd name="connsiteY331" fmla="*/ 7266 h 51323"/>
                <a:gd name="connsiteX332" fmla="*/ 16833 w 51323"/>
                <a:gd name="connsiteY332" fmla="*/ 6888 h 51323"/>
                <a:gd name="connsiteX333" fmla="*/ 16833 w 51323"/>
                <a:gd name="connsiteY333" fmla="*/ 6888 h 51323"/>
                <a:gd name="connsiteX334" fmla="*/ 16833 w 51323"/>
                <a:gd name="connsiteY334" fmla="*/ 6888 h 51323"/>
                <a:gd name="connsiteX335" fmla="*/ 16833 w 51323"/>
                <a:gd name="connsiteY335" fmla="*/ 6888 h 51323"/>
                <a:gd name="connsiteX336" fmla="*/ 16936 w 51323"/>
                <a:gd name="connsiteY336" fmla="*/ 6888 h 51323"/>
                <a:gd name="connsiteX337" fmla="*/ 16833 w 51323"/>
                <a:gd name="connsiteY337" fmla="*/ 6888 h 51323"/>
                <a:gd name="connsiteX338" fmla="*/ 17056 w 51323"/>
                <a:gd name="connsiteY338" fmla="*/ 6785 h 51323"/>
                <a:gd name="connsiteX339" fmla="*/ 17056 w 51323"/>
                <a:gd name="connsiteY339" fmla="*/ 6785 h 51323"/>
                <a:gd name="connsiteX340" fmla="*/ 17159 w 51323"/>
                <a:gd name="connsiteY340" fmla="*/ 6785 h 51323"/>
                <a:gd name="connsiteX341" fmla="*/ 17039 w 51323"/>
                <a:gd name="connsiteY341" fmla="*/ 6785 h 51323"/>
                <a:gd name="connsiteX342" fmla="*/ 17142 w 51323"/>
                <a:gd name="connsiteY342" fmla="*/ 6785 h 51323"/>
                <a:gd name="connsiteX343" fmla="*/ 17022 w 51323"/>
                <a:gd name="connsiteY343" fmla="*/ 6785 h 51323"/>
                <a:gd name="connsiteX344" fmla="*/ 17022 w 51323"/>
                <a:gd name="connsiteY344" fmla="*/ 6785 h 51323"/>
                <a:gd name="connsiteX345" fmla="*/ 16885 w 51323"/>
                <a:gd name="connsiteY345" fmla="*/ 6785 h 51323"/>
                <a:gd name="connsiteX346" fmla="*/ 17005 w 51323"/>
                <a:gd name="connsiteY346" fmla="*/ 6785 h 51323"/>
                <a:gd name="connsiteX347" fmla="*/ 17314 w 51323"/>
                <a:gd name="connsiteY347" fmla="*/ 6785 h 51323"/>
                <a:gd name="connsiteX348" fmla="*/ 17314 w 51323"/>
                <a:gd name="connsiteY348" fmla="*/ 6785 h 51323"/>
                <a:gd name="connsiteX349" fmla="*/ 16696 w 51323"/>
                <a:gd name="connsiteY349" fmla="*/ 7145 h 51323"/>
                <a:gd name="connsiteX350" fmla="*/ 16696 w 51323"/>
                <a:gd name="connsiteY350" fmla="*/ 7145 h 51323"/>
                <a:gd name="connsiteX351" fmla="*/ 16696 w 51323"/>
                <a:gd name="connsiteY351" fmla="*/ 7145 h 51323"/>
                <a:gd name="connsiteX352" fmla="*/ 16696 w 51323"/>
                <a:gd name="connsiteY352" fmla="*/ 7145 h 51323"/>
                <a:gd name="connsiteX353" fmla="*/ 16696 w 51323"/>
                <a:gd name="connsiteY353" fmla="*/ 7145 h 51323"/>
                <a:gd name="connsiteX354" fmla="*/ 16696 w 51323"/>
                <a:gd name="connsiteY354" fmla="*/ 7145 h 51323"/>
                <a:gd name="connsiteX355" fmla="*/ 16696 w 51323"/>
                <a:gd name="connsiteY355" fmla="*/ 7145 h 51323"/>
                <a:gd name="connsiteX356" fmla="*/ 16455 w 51323"/>
                <a:gd name="connsiteY356" fmla="*/ 7300 h 51323"/>
                <a:gd name="connsiteX357" fmla="*/ 16455 w 51323"/>
                <a:gd name="connsiteY357" fmla="*/ 7300 h 51323"/>
                <a:gd name="connsiteX358" fmla="*/ 16455 w 51323"/>
                <a:gd name="connsiteY358" fmla="*/ 7386 h 51323"/>
                <a:gd name="connsiteX359" fmla="*/ 16610 w 51323"/>
                <a:gd name="connsiteY359" fmla="*/ 7386 h 51323"/>
                <a:gd name="connsiteX360" fmla="*/ 16610 w 51323"/>
                <a:gd name="connsiteY360" fmla="*/ 7386 h 51323"/>
                <a:gd name="connsiteX361" fmla="*/ 16610 w 51323"/>
                <a:gd name="connsiteY361" fmla="*/ 7489 h 51323"/>
                <a:gd name="connsiteX362" fmla="*/ 16610 w 51323"/>
                <a:gd name="connsiteY362" fmla="*/ 7489 h 51323"/>
                <a:gd name="connsiteX363" fmla="*/ 16610 w 51323"/>
                <a:gd name="connsiteY363" fmla="*/ 7489 h 51323"/>
                <a:gd name="connsiteX364" fmla="*/ 16610 w 51323"/>
                <a:gd name="connsiteY364" fmla="*/ 7592 h 51323"/>
                <a:gd name="connsiteX365" fmla="*/ 16970 w 51323"/>
                <a:gd name="connsiteY365" fmla="*/ 7334 h 51323"/>
                <a:gd name="connsiteX366" fmla="*/ 16970 w 51323"/>
                <a:gd name="connsiteY366" fmla="*/ 7334 h 51323"/>
                <a:gd name="connsiteX367" fmla="*/ 17108 w 51323"/>
                <a:gd name="connsiteY367" fmla="*/ 7334 h 51323"/>
                <a:gd name="connsiteX368" fmla="*/ 17245 w 51323"/>
                <a:gd name="connsiteY368" fmla="*/ 7334 h 51323"/>
                <a:gd name="connsiteX369" fmla="*/ 17142 w 51323"/>
                <a:gd name="connsiteY369" fmla="*/ 7334 h 51323"/>
                <a:gd name="connsiteX370" fmla="*/ 17142 w 51323"/>
                <a:gd name="connsiteY370" fmla="*/ 7334 h 51323"/>
                <a:gd name="connsiteX371" fmla="*/ 16988 w 51323"/>
                <a:gd name="connsiteY371" fmla="*/ 7437 h 51323"/>
                <a:gd name="connsiteX372" fmla="*/ 16988 w 51323"/>
                <a:gd name="connsiteY372" fmla="*/ 7437 h 51323"/>
                <a:gd name="connsiteX373" fmla="*/ 16867 w 51323"/>
                <a:gd name="connsiteY373" fmla="*/ 7437 h 51323"/>
                <a:gd name="connsiteX374" fmla="*/ 16610 w 51323"/>
                <a:gd name="connsiteY374" fmla="*/ 7575 h 51323"/>
                <a:gd name="connsiteX375" fmla="*/ 16610 w 51323"/>
                <a:gd name="connsiteY375" fmla="*/ 7575 h 51323"/>
                <a:gd name="connsiteX376" fmla="*/ 16421 w 51323"/>
                <a:gd name="connsiteY376" fmla="*/ 7678 h 51323"/>
                <a:gd name="connsiteX377" fmla="*/ 16421 w 51323"/>
                <a:gd name="connsiteY377" fmla="*/ 7678 h 51323"/>
                <a:gd name="connsiteX378" fmla="*/ 16283 w 51323"/>
                <a:gd name="connsiteY378" fmla="*/ 7678 h 51323"/>
                <a:gd name="connsiteX379" fmla="*/ 16283 w 51323"/>
                <a:gd name="connsiteY379" fmla="*/ 7678 h 51323"/>
                <a:gd name="connsiteX380" fmla="*/ 16283 w 51323"/>
                <a:gd name="connsiteY380" fmla="*/ 7678 h 51323"/>
                <a:gd name="connsiteX381" fmla="*/ 16129 w 51323"/>
                <a:gd name="connsiteY381" fmla="*/ 7678 h 51323"/>
                <a:gd name="connsiteX382" fmla="*/ 16129 w 51323"/>
                <a:gd name="connsiteY382" fmla="*/ 7678 h 51323"/>
                <a:gd name="connsiteX383" fmla="*/ 16129 w 51323"/>
                <a:gd name="connsiteY383" fmla="*/ 7678 h 51323"/>
                <a:gd name="connsiteX384" fmla="*/ 16129 w 51323"/>
                <a:gd name="connsiteY384" fmla="*/ 7678 h 51323"/>
                <a:gd name="connsiteX385" fmla="*/ 15820 w 51323"/>
                <a:gd name="connsiteY385" fmla="*/ 7867 h 51323"/>
                <a:gd name="connsiteX386" fmla="*/ 16043 w 51323"/>
                <a:gd name="connsiteY386" fmla="*/ 7747 h 51323"/>
                <a:gd name="connsiteX387" fmla="*/ 16043 w 51323"/>
                <a:gd name="connsiteY387" fmla="*/ 7747 h 51323"/>
                <a:gd name="connsiteX388" fmla="*/ 16318 w 51323"/>
                <a:gd name="connsiteY388" fmla="*/ 7644 h 51323"/>
                <a:gd name="connsiteX389" fmla="*/ 16198 w 51323"/>
                <a:gd name="connsiteY389" fmla="*/ 7644 h 51323"/>
                <a:gd name="connsiteX390" fmla="*/ 16747 w 51323"/>
                <a:gd name="connsiteY390" fmla="*/ 7352 h 51323"/>
                <a:gd name="connsiteX391" fmla="*/ 16747 w 51323"/>
                <a:gd name="connsiteY391" fmla="*/ 7352 h 51323"/>
                <a:gd name="connsiteX392" fmla="*/ 16747 w 51323"/>
                <a:gd name="connsiteY392" fmla="*/ 7352 h 51323"/>
                <a:gd name="connsiteX393" fmla="*/ 17400 w 51323"/>
                <a:gd name="connsiteY393" fmla="*/ 7077 h 51323"/>
                <a:gd name="connsiteX394" fmla="*/ 17262 w 51323"/>
                <a:gd name="connsiteY394" fmla="*/ 7077 h 51323"/>
                <a:gd name="connsiteX395" fmla="*/ 17262 w 51323"/>
                <a:gd name="connsiteY395" fmla="*/ 7077 h 51323"/>
                <a:gd name="connsiteX396" fmla="*/ 17520 w 51323"/>
                <a:gd name="connsiteY396" fmla="*/ 6991 h 51323"/>
                <a:gd name="connsiteX397" fmla="*/ 17846 w 51323"/>
                <a:gd name="connsiteY397" fmla="*/ 6768 h 51323"/>
                <a:gd name="connsiteX398" fmla="*/ 17846 w 51323"/>
                <a:gd name="connsiteY398" fmla="*/ 6768 h 51323"/>
                <a:gd name="connsiteX399" fmla="*/ 17846 w 51323"/>
                <a:gd name="connsiteY399" fmla="*/ 6768 h 51323"/>
                <a:gd name="connsiteX400" fmla="*/ 18482 w 51323"/>
                <a:gd name="connsiteY400" fmla="*/ 6476 h 51323"/>
                <a:gd name="connsiteX401" fmla="*/ 18482 w 51323"/>
                <a:gd name="connsiteY401" fmla="*/ 6476 h 51323"/>
                <a:gd name="connsiteX402" fmla="*/ 19066 w 51323"/>
                <a:gd name="connsiteY402" fmla="*/ 6235 h 51323"/>
                <a:gd name="connsiteX403" fmla="*/ 18911 w 51323"/>
                <a:gd name="connsiteY403" fmla="*/ 6321 h 51323"/>
                <a:gd name="connsiteX404" fmla="*/ 19427 w 51323"/>
                <a:gd name="connsiteY404" fmla="*/ 6115 h 51323"/>
                <a:gd name="connsiteX405" fmla="*/ 19238 w 51323"/>
                <a:gd name="connsiteY405" fmla="*/ 6252 h 51323"/>
                <a:gd name="connsiteX406" fmla="*/ 20303 w 51323"/>
                <a:gd name="connsiteY406" fmla="*/ 5909 h 51323"/>
                <a:gd name="connsiteX407" fmla="*/ 21024 w 51323"/>
                <a:gd name="connsiteY407" fmla="*/ 5651 h 51323"/>
                <a:gd name="connsiteX408" fmla="*/ 20303 w 51323"/>
                <a:gd name="connsiteY408" fmla="*/ 6149 h 51323"/>
                <a:gd name="connsiteX409" fmla="*/ 20303 w 51323"/>
                <a:gd name="connsiteY409" fmla="*/ 6149 h 51323"/>
                <a:gd name="connsiteX410" fmla="*/ 20406 w 51323"/>
                <a:gd name="connsiteY410" fmla="*/ 6149 h 51323"/>
                <a:gd name="connsiteX411" fmla="*/ 20492 w 51323"/>
                <a:gd name="connsiteY411" fmla="*/ 6235 h 51323"/>
                <a:gd name="connsiteX412" fmla="*/ 20354 w 51323"/>
                <a:gd name="connsiteY412" fmla="*/ 6235 h 51323"/>
                <a:gd name="connsiteX413" fmla="*/ 20165 w 51323"/>
                <a:gd name="connsiteY413" fmla="*/ 6355 h 51323"/>
                <a:gd name="connsiteX414" fmla="*/ 20337 w 51323"/>
                <a:gd name="connsiteY414" fmla="*/ 6355 h 51323"/>
                <a:gd name="connsiteX415" fmla="*/ 19856 w 51323"/>
                <a:gd name="connsiteY415" fmla="*/ 6716 h 51323"/>
                <a:gd name="connsiteX416" fmla="*/ 20097 w 51323"/>
                <a:gd name="connsiteY416" fmla="*/ 6716 h 51323"/>
                <a:gd name="connsiteX417" fmla="*/ 19667 w 51323"/>
                <a:gd name="connsiteY417" fmla="*/ 6939 h 51323"/>
                <a:gd name="connsiteX418" fmla="*/ 19495 w 51323"/>
                <a:gd name="connsiteY418" fmla="*/ 7145 h 51323"/>
                <a:gd name="connsiteX419" fmla="*/ 19358 w 51323"/>
                <a:gd name="connsiteY419" fmla="*/ 7266 h 51323"/>
                <a:gd name="connsiteX420" fmla="*/ 19358 w 51323"/>
                <a:gd name="connsiteY420" fmla="*/ 7352 h 51323"/>
                <a:gd name="connsiteX421" fmla="*/ 19358 w 51323"/>
                <a:gd name="connsiteY421" fmla="*/ 7523 h 51323"/>
                <a:gd name="connsiteX422" fmla="*/ 19049 w 51323"/>
                <a:gd name="connsiteY422" fmla="*/ 7626 h 51323"/>
                <a:gd name="connsiteX423" fmla="*/ 18860 w 51323"/>
                <a:gd name="connsiteY423" fmla="*/ 7918 h 51323"/>
                <a:gd name="connsiteX424" fmla="*/ 18860 w 51323"/>
                <a:gd name="connsiteY424" fmla="*/ 8039 h 51323"/>
                <a:gd name="connsiteX425" fmla="*/ 18705 w 51323"/>
                <a:gd name="connsiteY425" fmla="*/ 8399 h 51323"/>
                <a:gd name="connsiteX426" fmla="*/ 18551 w 51323"/>
                <a:gd name="connsiteY426" fmla="*/ 8588 h 51323"/>
                <a:gd name="connsiteX427" fmla="*/ 18396 w 51323"/>
                <a:gd name="connsiteY427" fmla="*/ 8829 h 51323"/>
                <a:gd name="connsiteX428" fmla="*/ 18190 w 51323"/>
                <a:gd name="connsiteY428" fmla="*/ 8966 h 51323"/>
                <a:gd name="connsiteX429" fmla="*/ 18190 w 51323"/>
                <a:gd name="connsiteY429" fmla="*/ 8966 h 51323"/>
                <a:gd name="connsiteX430" fmla="*/ 17846 w 51323"/>
                <a:gd name="connsiteY430" fmla="*/ 9155 h 51323"/>
                <a:gd name="connsiteX431" fmla="*/ 18224 w 51323"/>
                <a:gd name="connsiteY431" fmla="*/ 8605 h 51323"/>
                <a:gd name="connsiteX432" fmla="*/ 18224 w 51323"/>
                <a:gd name="connsiteY432" fmla="*/ 8434 h 51323"/>
                <a:gd name="connsiteX433" fmla="*/ 18053 w 51323"/>
                <a:gd name="connsiteY433" fmla="*/ 8434 h 51323"/>
                <a:gd name="connsiteX434" fmla="*/ 17486 w 51323"/>
                <a:gd name="connsiteY434" fmla="*/ 9155 h 51323"/>
                <a:gd name="connsiteX435" fmla="*/ 16747 w 51323"/>
                <a:gd name="connsiteY435" fmla="*/ 9842 h 51323"/>
                <a:gd name="connsiteX436" fmla="*/ 16747 w 51323"/>
                <a:gd name="connsiteY436" fmla="*/ 9396 h 51323"/>
                <a:gd name="connsiteX437" fmla="*/ 16524 w 51323"/>
                <a:gd name="connsiteY437" fmla="*/ 10306 h 51323"/>
                <a:gd name="connsiteX438" fmla="*/ 16799 w 51323"/>
                <a:gd name="connsiteY438" fmla="*/ 9069 h 51323"/>
                <a:gd name="connsiteX439" fmla="*/ 16558 w 51323"/>
                <a:gd name="connsiteY439" fmla="*/ 9069 h 51323"/>
                <a:gd name="connsiteX440" fmla="*/ 16301 w 51323"/>
                <a:gd name="connsiteY440" fmla="*/ 9069 h 51323"/>
                <a:gd name="connsiteX441" fmla="*/ 16850 w 51323"/>
                <a:gd name="connsiteY441" fmla="*/ 8794 h 51323"/>
                <a:gd name="connsiteX442" fmla="*/ 19530 w 51323"/>
                <a:gd name="connsiteY442" fmla="*/ 6733 h 51323"/>
                <a:gd name="connsiteX443" fmla="*/ 18980 w 51323"/>
                <a:gd name="connsiteY443" fmla="*/ 6733 h 51323"/>
                <a:gd name="connsiteX444" fmla="*/ 18980 w 51323"/>
                <a:gd name="connsiteY444" fmla="*/ 6561 h 51323"/>
                <a:gd name="connsiteX445" fmla="*/ 18980 w 51323"/>
                <a:gd name="connsiteY445" fmla="*/ 6373 h 51323"/>
                <a:gd name="connsiteX446" fmla="*/ 19083 w 51323"/>
                <a:gd name="connsiteY446" fmla="*/ 6373 h 51323"/>
                <a:gd name="connsiteX447" fmla="*/ 18929 w 51323"/>
                <a:gd name="connsiteY447" fmla="*/ 6458 h 51323"/>
                <a:gd name="connsiteX448" fmla="*/ 18173 w 51323"/>
                <a:gd name="connsiteY448" fmla="*/ 6871 h 51323"/>
                <a:gd name="connsiteX449" fmla="*/ 18173 w 51323"/>
                <a:gd name="connsiteY449" fmla="*/ 6871 h 51323"/>
                <a:gd name="connsiteX450" fmla="*/ 18293 w 51323"/>
                <a:gd name="connsiteY450" fmla="*/ 6871 h 51323"/>
                <a:gd name="connsiteX451" fmla="*/ 18242 w 51323"/>
                <a:gd name="connsiteY451" fmla="*/ 6871 h 51323"/>
                <a:gd name="connsiteX452" fmla="*/ 18242 w 51323"/>
                <a:gd name="connsiteY452" fmla="*/ 6871 h 51323"/>
                <a:gd name="connsiteX453" fmla="*/ 17898 w 51323"/>
                <a:gd name="connsiteY453" fmla="*/ 7025 h 51323"/>
                <a:gd name="connsiteX454" fmla="*/ 17898 w 51323"/>
                <a:gd name="connsiteY454" fmla="*/ 7025 h 51323"/>
                <a:gd name="connsiteX455" fmla="*/ 17898 w 51323"/>
                <a:gd name="connsiteY455" fmla="*/ 7025 h 51323"/>
                <a:gd name="connsiteX456" fmla="*/ 18001 w 51323"/>
                <a:gd name="connsiteY456" fmla="*/ 7025 h 51323"/>
                <a:gd name="connsiteX457" fmla="*/ 18001 w 51323"/>
                <a:gd name="connsiteY457" fmla="*/ 7025 h 51323"/>
                <a:gd name="connsiteX458" fmla="*/ 18001 w 51323"/>
                <a:gd name="connsiteY458" fmla="*/ 7025 h 51323"/>
                <a:gd name="connsiteX459" fmla="*/ 17829 w 51323"/>
                <a:gd name="connsiteY459" fmla="*/ 7025 h 51323"/>
                <a:gd name="connsiteX460" fmla="*/ 17829 w 51323"/>
                <a:gd name="connsiteY460" fmla="*/ 7025 h 51323"/>
                <a:gd name="connsiteX461" fmla="*/ 17829 w 51323"/>
                <a:gd name="connsiteY461" fmla="*/ 7025 h 51323"/>
                <a:gd name="connsiteX462" fmla="*/ 17177 w 51323"/>
                <a:gd name="connsiteY462" fmla="*/ 7437 h 51323"/>
                <a:gd name="connsiteX463" fmla="*/ 17434 w 51323"/>
                <a:gd name="connsiteY463" fmla="*/ 7334 h 51323"/>
                <a:gd name="connsiteX464" fmla="*/ 17434 w 51323"/>
                <a:gd name="connsiteY464" fmla="*/ 7334 h 51323"/>
                <a:gd name="connsiteX465" fmla="*/ 17864 w 51323"/>
                <a:gd name="connsiteY465" fmla="*/ 7111 h 51323"/>
                <a:gd name="connsiteX466" fmla="*/ 17331 w 51323"/>
                <a:gd name="connsiteY466" fmla="*/ 7489 h 51323"/>
                <a:gd name="connsiteX467" fmla="*/ 17331 w 51323"/>
                <a:gd name="connsiteY467" fmla="*/ 7489 h 51323"/>
                <a:gd name="connsiteX468" fmla="*/ 16644 w 51323"/>
                <a:gd name="connsiteY468" fmla="*/ 7970 h 51323"/>
                <a:gd name="connsiteX469" fmla="*/ 16799 w 51323"/>
                <a:gd name="connsiteY469" fmla="*/ 7884 h 51323"/>
                <a:gd name="connsiteX470" fmla="*/ 16799 w 51323"/>
                <a:gd name="connsiteY470" fmla="*/ 7884 h 51323"/>
                <a:gd name="connsiteX471" fmla="*/ 17675 w 51323"/>
                <a:gd name="connsiteY471" fmla="*/ 7437 h 51323"/>
                <a:gd name="connsiteX472" fmla="*/ 17675 w 51323"/>
                <a:gd name="connsiteY472" fmla="*/ 7437 h 51323"/>
                <a:gd name="connsiteX473" fmla="*/ 17675 w 51323"/>
                <a:gd name="connsiteY473" fmla="*/ 7437 h 51323"/>
                <a:gd name="connsiteX474" fmla="*/ 17812 w 51323"/>
                <a:gd name="connsiteY474" fmla="*/ 7352 h 51323"/>
                <a:gd name="connsiteX475" fmla="*/ 17812 w 51323"/>
                <a:gd name="connsiteY475" fmla="*/ 7352 h 51323"/>
                <a:gd name="connsiteX476" fmla="*/ 17932 w 51323"/>
                <a:gd name="connsiteY476" fmla="*/ 7352 h 51323"/>
                <a:gd name="connsiteX477" fmla="*/ 17932 w 51323"/>
                <a:gd name="connsiteY477" fmla="*/ 7352 h 51323"/>
                <a:gd name="connsiteX478" fmla="*/ 18362 w 51323"/>
                <a:gd name="connsiteY478" fmla="*/ 7111 h 51323"/>
                <a:gd name="connsiteX479" fmla="*/ 18362 w 51323"/>
                <a:gd name="connsiteY479" fmla="*/ 7266 h 51323"/>
                <a:gd name="connsiteX480" fmla="*/ 18362 w 51323"/>
                <a:gd name="connsiteY480" fmla="*/ 7266 h 51323"/>
                <a:gd name="connsiteX481" fmla="*/ 18242 w 51323"/>
                <a:gd name="connsiteY481" fmla="*/ 7386 h 51323"/>
                <a:gd name="connsiteX482" fmla="*/ 18104 w 51323"/>
                <a:gd name="connsiteY482" fmla="*/ 7489 h 51323"/>
                <a:gd name="connsiteX483" fmla="*/ 17898 w 51323"/>
                <a:gd name="connsiteY483" fmla="*/ 7626 h 51323"/>
                <a:gd name="connsiteX484" fmla="*/ 17898 w 51323"/>
                <a:gd name="connsiteY484" fmla="*/ 7626 h 51323"/>
                <a:gd name="connsiteX485" fmla="*/ 17898 w 51323"/>
                <a:gd name="connsiteY485" fmla="*/ 7626 h 51323"/>
                <a:gd name="connsiteX486" fmla="*/ 17692 w 51323"/>
                <a:gd name="connsiteY486" fmla="*/ 7626 h 51323"/>
                <a:gd name="connsiteX487" fmla="*/ 17692 w 51323"/>
                <a:gd name="connsiteY487" fmla="*/ 7626 h 51323"/>
                <a:gd name="connsiteX488" fmla="*/ 17537 w 51323"/>
                <a:gd name="connsiteY488" fmla="*/ 7729 h 51323"/>
                <a:gd name="connsiteX489" fmla="*/ 17537 w 51323"/>
                <a:gd name="connsiteY489" fmla="*/ 7729 h 51323"/>
                <a:gd name="connsiteX490" fmla="*/ 17537 w 51323"/>
                <a:gd name="connsiteY490" fmla="*/ 7729 h 51323"/>
                <a:gd name="connsiteX491" fmla="*/ 16438 w 51323"/>
                <a:gd name="connsiteY491" fmla="*/ 8296 h 51323"/>
                <a:gd name="connsiteX492" fmla="*/ 16524 w 51323"/>
                <a:gd name="connsiteY492" fmla="*/ 8245 h 51323"/>
                <a:gd name="connsiteX493" fmla="*/ 16524 w 51323"/>
                <a:gd name="connsiteY493" fmla="*/ 8245 h 51323"/>
                <a:gd name="connsiteX494" fmla="*/ 16661 w 51323"/>
                <a:gd name="connsiteY494" fmla="*/ 8125 h 51323"/>
                <a:gd name="connsiteX495" fmla="*/ 16661 w 51323"/>
                <a:gd name="connsiteY495" fmla="*/ 8125 h 51323"/>
                <a:gd name="connsiteX496" fmla="*/ 16661 w 51323"/>
                <a:gd name="connsiteY496" fmla="*/ 8125 h 51323"/>
                <a:gd name="connsiteX497" fmla="*/ 16301 w 51323"/>
                <a:gd name="connsiteY497" fmla="*/ 8451 h 51323"/>
                <a:gd name="connsiteX498" fmla="*/ 16404 w 51323"/>
                <a:gd name="connsiteY498" fmla="*/ 8296 h 51323"/>
                <a:gd name="connsiteX499" fmla="*/ 16283 w 51323"/>
                <a:gd name="connsiteY499" fmla="*/ 8399 h 51323"/>
                <a:gd name="connsiteX500" fmla="*/ 16283 w 51323"/>
                <a:gd name="connsiteY500" fmla="*/ 8399 h 51323"/>
                <a:gd name="connsiteX501" fmla="*/ 16283 w 51323"/>
                <a:gd name="connsiteY501" fmla="*/ 8399 h 51323"/>
                <a:gd name="connsiteX502" fmla="*/ 16438 w 51323"/>
                <a:gd name="connsiteY502" fmla="*/ 8279 h 51323"/>
                <a:gd name="connsiteX503" fmla="*/ 16438 w 51323"/>
                <a:gd name="connsiteY503" fmla="*/ 8279 h 51323"/>
                <a:gd name="connsiteX504" fmla="*/ 16438 w 51323"/>
                <a:gd name="connsiteY504" fmla="*/ 8279 h 51323"/>
                <a:gd name="connsiteX505" fmla="*/ 16438 w 51323"/>
                <a:gd name="connsiteY505" fmla="*/ 8279 h 51323"/>
                <a:gd name="connsiteX506" fmla="*/ 15837 w 51323"/>
                <a:gd name="connsiteY506" fmla="*/ 8657 h 51323"/>
                <a:gd name="connsiteX507" fmla="*/ 15837 w 51323"/>
                <a:gd name="connsiteY507" fmla="*/ 8657 h 51323"/>
                <a:gd name="connsiteX508" fmla="*/ 15837 w 51323"/>
                <a:gd name="connsiteY508" fmla="*/ 8365 h 51323"/>
                <a:gd name="connsiteX509" fmla="*/ 15287 w 51323"/>
                <a:gd name="connsiteY509" fmla="*/ 8932 h 51323"/>
                <a:gd name="connsiteX510" fmla="*/ 15287 w 51323"/>
                <a:gd name="connsiteY510" fmla="*/ 8932 h 51323"/>
                <a:gd name="connsiteX511" fmla="*/ 14841 w 51323"/>
                <a:gd name="connsiteY511" fmla="*/ 9138 h 51323"/>
                <a:gd name="connsiteX512" fmla="*/ 14841 w 51323"/>
                <a:gd name="connsiteY512" fmla="*/ 9138 h 51323"/>
                <a:gd name="connsiteX513" fmla="*/ 14841 w 51323"/>
                <a:gd name="connsiteY513" fmla="*/ 9138 h 51323"/>
                <a:gd name="connsiteX514" fmla="*/ 14841 w 51323"/>
                <a:gd name="connsiteY514" fmla="*/ 9138 h 51323"/>
                <a:gd name="connsiteX515" fmla="*/ 14961 w 51323"/>
                <a:gd name="connsiteY515" fmla="*/ 9035 h 51323"/>
                <a:gd name="connsiteX516" fmla="*/ 14806 w 51323"/>
                <a:gd name="connsiteY516" fmla="*/ 9121 h 51323"/>
                <a:gd name="connsiteX517" fmla="*/ 14909 w 51323"/>
                <a:gd name="connsiteY517" fmla="*/ 9018 h 51323"/>
                <a:gd name="connsiteX518" fmla="*/ 14686 w 51323"/>
                <a:gd name="connsiteY518" fmla="*/ 9138 h 51323"/>
                <a:gd name="connsiteX519" fmla="*/ 14531 w 51323"/>
                <a:gd name="connsiteY519" fmla="*/ 9258 h 51323"/>
                <a:gd name="connsiteX520" fmla="*/ 14789 w 51323"/>
                <a:gd name="connsiteY520" fmla="*/ 8846 h 51323"/>
                <a:gd name="connsiteX521" fmla="*/ 14789 w 51323"/>
                <a:gd name="connsiteY521" fmla="*/ 8846 h 51323"/>
                <a:gd name="connsiteX522" fmla="*/ 14789 w 51323"/>
                <a:gd name="connsiteY522" fmla="*/ 8846 h 51323"/>
                <a:gd name="connsiteX523" fmla="*/ 14703 w 51323"/>
                <a:gd name="connsiteY523" fmla="*/ 8949 h 51323"/>
                <a:gd name="connsiteX524" fmla="*/ 14549 w 51323"/>
                <a:gd name="connsiteY524" fmla="*/ 9121 h 51323"/>
                <a:gd name="connsiteX525" fmla="*/ 14686 w 51323"/>
                <a:gd name="connsiteY525" fmla="*/ 9121 h 51323"/>
                <a:gd name="connsiteX526" fmla="*/ 14411 w 51323"/>
                <a:gd name="connsiteY526" fmla="*/ 9121 h 51323"/>
                <a:gd name="connsiteX527" fmla="*/ 14085 w 51323"/>
                <a:gd name="connsiteY527" fmla="*/ 9447 h 51323"/>
                <a:gd name="connsiteX528" fmla="*/ 14085 w 51323"/>
                <a:gd name="connsiteY528" fmla="*/ 9447 h 51323"/>
                <a:gd name="connsiteX529" fmla="*/ 14085 w 51323"/>
                <a:gd name="connsiteY529" fmla="*/ 9447 h 51323"/>
                <a:gd name="connsiteX530" fmla="*/ 14085 w 51323"/>
                <a:gd name="connsiteY530" fmla="*/ 9447 h 51323"/>
                <a:gd name="connsiteX531" fmla="*/ 13930 w 51323"/>
                <a:gd name="connsiteY531" fmla="*/ 9585 h 51323"/>
                <a:gd name="connsiteX532" fmla="*/ 13930 w 51323"/>
                <a:gd name="connsiteY532" fmla="*/ 9585 h 51323"/>
                <a:gd name="connsiteX533" fmla="*/ 13776 w 51323"/>
                <a:gd name="connsiteY533" fmla="*/ 9585 h 51323"/>
                <a:gd name="connsiteX534" fmla="*/ 13123 w 51323"/>
                <a:gd name="connsiteY534" fmla="*/ 9945 h 51323"/>
                <a:gd name="connsiteX535" fmla="*/ 13123 w 51323"/>
                <a:gd name="connsiteY535" fmla="*/ 9945 h 51323"/>
                <a:gd name="connsiteX536" fmla="*/ 11903 w 51323"/>
                <a:gd name="connsiteY536" fmla="*/ 10907 h 51323"/>
                <a:gd name="connsiteX537" fmla="*/ 11525 w 51323"/>
                <a:gd name="connsiteY537" fmla="*/ 11405 h 51323"/>
                <a:gd name="connsiteX538" fmla="*/ 11525 w 51323"/>
                <a:gd name="connsiteY538" fmla="*/ 12092 h 51323"/>
                <a:gd name="connsiteX539" fmla="*/ 11525 w 51323"/>
                <a:gd name="connsiteY539" fmla="*/ 12092 h 51323"/>
                <a:gd name="connsiteX540" fmla="*/ 11405 w 51323"/>
                <a:gd name="connsiteY540" fmla="*/ 12556 h 51323"/>
                <a:gd name="connsiteX541" fmla="*/ 11629 w 51323"/>
                <a:gd name="connsiteY541" fmla="*/ 12693 h 51323"/>
                <a:gd name="connsiteX542" fmla="*/ 11629 w 51323"/>
                <a:gd name="connsiteY542" fmla="*/ 12693 h 51323"/>
                <a:gd name="connsiteX543" fmla="*/ 10392 w 51323"/>
                <a:gd name="connsiteY543" fmla="*/ 14325 h 51323"/>
                <a:gd name="connsiteX544" fmla="*/ 10753 w 51323"/>
                <a:gd name="connsiteY544" fmla="*/ 14188 h 51323"/>
                <a:gd name="connsiteX545" fmla="*/ 10649 w 51323"/>
                <a:gd name="connsiteY545" fmla="*/ 14514 h 51323"/>
                <a:gd name="connsiteX546" fmla="*/ 12608 w 51323"/>
                <a:gd name="connsiteY546" fmla="*/ 12590 h 51323"/>
                <a:gd name="connsiteX547" fmla="*/ 13999 w 51323"/>
                <a:gd name="connsiteY547" fmla="*/ 11148 h 51323"/>
                <a:gd name="connsiteX548" fmla="*/ 13999 w 51323"/>
                <a:gd name="connsiteY548" fmla="*/ 11148 h 51323"/>
                <a:gd name="connsiteX549" fmla="*/ 14205 w 51323"/>
                <a:gd name="connsiteY549" fmla="*/ 10976 h 51323"/>
                <a:gd name="connsiteX550" fmla="*/ 14325 w 51323"/>
                <a:gd name="connsiteY550" fmla="*/ 10856 h 51323"/>
                <a:gd name="connsiteX551" fmla="*/ 15081 w 51323"/>
                <a:gd name="connsiteY551" fmla="*/ 10409 h 51323"/>
                <a:gd name="connsiteX552" fmla="*/ 15201 w 51323"/>
                <a:gd name="connsiteY552" fmla="*/ 10409 h 51323"/>
                <a:gd name="connsiteX553" fmla="*/ 15201 w 51323"/>
                <a:gd name="connsiteY553" fmla="*/ 10409 h 51323"/>
                <a:gd name="connsiteX554" fmla="*/ 15304 w 51323"/>
                <a:gd name="connsiteY554" fmla="*/ 10564 h 51323"/>
                <a:gd name="connsiteX555" fmla="*/ 15167 w 51323"/>
                <a:gd name="connsiteY555" fmla="*/ 10701 h 51323"/>
                <a:gd name="connsiteX556" fmla="*/ 15167 w 51323"/>
                <a:gd name="connsiteY556" fmla="*/ 10701 h 51323"/>
                <a:gd name="connsiteX557" fmla="*/ 15167 w 51323"/>
                <a:gd name="connsiteY557" fmla="*/ 10856 h 51323"/>
                <a:gd name="connsiteX558" fmla="*/ 15167 w 51323"/>
                <a:gd name="connsiteY558" fmla="*/ 10856 h 51323"/>
                <a:gd name="connsiteX559" fmla="*/ 15167 w 51323"/>
                <a:gd name="connsiteY559" fmla="*/ 10941 h 51323"/>
                <a:gd name="connsiteX560" fmla="*/ 15167 w 51323"/>
                <a:gd name="connsiteY560" fmla="*/ 10941 h 51323"/>
                <a:gd name="connsiteX561" fmla="*/ 15047 w 51323"/>
                <a:gd name="connsiteY561" fmla="*/ 11079 h 51323"/>
                <a:gd name="connsiteX562" fmla="*/ 15047 w 51323"/>
                <a:gd name="connsiteY562" fmla="*/ 11079 h 51323"/>
                <a:gd name="connsiteX563" fmla="*/ 15047 w 51323"/>
                <a:gd name="connsiteY563" fmla="*/ 11079 h 51323"/>
                <a:gd name="connsiteX564" fmla="*/ 15047 w 51323"/>
                <a:gd name="connsiteY564" fmla="*/ 11079 h 51323"/>
                <a:gd name="connsiteX565" fmla="*/ 15047 w 51323"/>
                <a:gd name="connsiteY565" fmla="*/ 11079 h 51323"/>
                <a:gd name="connsiteX566" fmla="*/ 15047 w 51323"/>
                <a:gd name="connsiteY566" fmla="*/ 11079 h 51323"/>
                <a:gd name="connsiteX567" fmla="*/ 15047 w 51323"/>
                <a:gd name="connsiteY567" fmla="*/ 11216 h 51323"/>
                <a:gd name="connsiteX568" fmla="*/ 15201 w 51323"/>
                <a:gd name="connsiteY568" fmla="*/ 11130 h 51323"/>
                <a:gd name="connsiteX569" fmla="*/ 14789 w 51323"/>
                <a:gd name="connsiteY569" fmla="*/ 11508 h 51323"/>
                <a:gd name="connsiteX570" fmla="*/ 14789 w 51323"/>
                <a:gd name="connsiteY570" fmla="*/ 11508 h 51323"/>
                <a:gd name="connsiteX571" fmla="*/ 14583 w 51323"/>
                <a:gd name="connsiteY571" fmla="*/ 11508 h 51323"/>
                <a:gd name="connsiteX572" fmla="*/ 14325 w 51323"/>
                <a:gd name="connsiteY572" fmla="*/ 11989 h 51323"/>
                <a:gd name="connsiteX573" fmla="*/ 14325 w 51323"/>
                <a:gd name="connsiteY573" fmla="*/ 11989 h 51323"/>
                <a:gd name="connsiteX574" fmla="*/ 14016 w 51323"/>
                <a:gd name="connsiteY574" fmla="*/ 12367 h 51323"/>
                <a:gd name="connsiteX575" fmla="*/ 14016 w 51323"/>
                <a:gd name="connsiteY575" fmla="*/ 12367 h 51323"/>
                <a:gd name="connsiteX576" fmla="*/ 14308 w 51323"/>
                <a:gd name="connsiteY576" fmla="*/ 12230 h 51323"/>
                <a:gd name="connsiteX577" fmla="*/ 14549 w 51323"/>
                <a:gd name="connsiteY577" fmla="*/ 12075 h 51323"/>
                <a:gd name="connsiteX578" fmla="*/ 14549 w 51323"/>
                <a:gd name="connsiteY578" fmla="*/ 12247 h 51323"/>
                <a:gd name="connsiteX579" fmla="*/ 14995 w 51323"/>
                <a:gd name="connsiteY579" fmla="*/ 11921 h 51323"/>
                <a:gd name="connsiteX580" fmla="*/ 14995 w 51323"/>
                <a:gd name="connsiteY580" fmla="*/ 11921 h 51323"/>
                <a:gd name="connsiteX581" fmla="*/ 15133 w 51323"/>
                <a:gd name="connsiteY581" fmla="*/ 11817 h 51323"/>
                <a:gd name="connsiteX582" fmla="*/ 15133 w 51323"/>
                <a:gd name="connsiteY582" fmla="*/ 11817 h 51323"/>
                <a:gd name="connsiteX583" fmla="*/ 15442 w 51323"/>
                <a:gd name="connsiteY583" fmla="*/ 11577 h 51323"/>
                <a:gd name="connsiteX584" fmla="*/ 15442 w 51323"/>
                <a:gd name="connsiteY584" fmla="*/ 11577 h 51323"/>
                <a:gd name="connsiteX585" fmla="*/ 15322 w 51323"/>
                <a:gd name="connsiteY585" fmla="*/ 11697 h 51323"/>
                <a:gd name="connsiteX586" fmla="*/ 15322 w 51323"/>
                <a:gd name="connsiteY586" fmla="*/ 11783 h 51323"/>
                <a:gd name="connsiteX587" fmla="*/ 15322 w 51323"/>
                <a:gd name="connsiteY587" fmla="*/ 11783 h 51323"/>
                <a:gd name="connsiteX588" fmla="*/ 15150 w 51323"/>
                <a:gd name="connsiteY588" fmla="*/ 12006 h 51323"/>
                <a:gd name="connsiteX589" fmla="*/ 15150 w 51323"/>
                <a:gd name="connsiteY589" fmla="*/ 12006 h 51323"/>
                <a:gd name="connsiteX590" fmla="*/ 15150 w 51323"/>
                <a:gd name="connsiteY590" fmla="*/ 12144 h 51323"/>
                <a:gd name="connsiteX591" fmla="*/ 15150 w 51323"/>
                <a:gd name="connsiteY591" fmla="*/ 12247 h 51323"/>
                <a:gd name="connsiteX592" fmla="*/ 14978 w 51323"/>
                <a:gd name="connsiteY592" fmla="*/ 12247 h 51323"/>
                <a:gd name="connsiteX593" fmla="*/ 14978 w 51323"/>
                <a:gd name="connsiteY593" fmla="*/ 12350 h 51323"/>
                <a:gd name="connsiteX594" fmla="*/ 15150 w 51323"/>
                <a:gd name="connsiteY594" fmla="*/ 12350 h 51323"/>
                <a:gd name="connsiteX595" fmla="*/ 14892 w 51323"/>
                <a:gd name="connsiteY595" fmla="*/ 12505 h 51323"/>
                <a:gd name="connsiteX596" fmla="*/ 14892 w 51323"/>
                <a:gd name="connsiteY596" fmla="*/ 12608 h 51323"/>
                <a:gd name="connsiteX597" fmla="*/ 14995 w 51323"/>
                <a:gd name="connsiteY597" fmla="*/ 12608 h 51323"/>
                <a:gd name="connsiteX598" fmla="*/ 14889 w 51323"/>
                <a:gd name="connsiteY598" fmla="*/ 12770 h 51323"/>
                <a:gd name="connsiteX599" fmla="*/ 14806 w 51323"/>
                <a:gd name="connsiteY599" fmla="*/ 12762 h 51323"/>
                <a:gd name="connsiteX600" fmla="*/ 14806 w 51323"/>
                <a:gd name="connsiteY600" fmla="*/ 12917 h 51323"/>
                <a:gd name="connsiteX601" fmla="*/ 14566 w 51323"/>
                <a:gd name="connsiteY601" fmla="*/ 13089 h 51323"/>
                <a:gd name="connsiteX602" fmla="*/ 14411 w 51323"/>
                <a:gd name="connsiteY602" fmla="*/ 13312 h 51323"/>
                <a:gd name="connsiteX603" fmla="*/ 14531 w 51323"/>
                <a:gd name="connsiteY603" fmla="*/ 13415 h 51323"/>
                <a:gd name="connsiteX604" fmla="*/ 14531 w 51323"/>
                <a:gd name="connsiteY604" fmla="*/ 13501 h 51323"/>
                <a:gd name="connsiteX605" fmla="*/ 14531 w 51323"/>
                <a:gd name="connsiteY605" fmla="*/ 13621 h 51323"/>
                <a:gd name="connsiteX606" fmla="*/ 14634 w 51323"/>
                <a:gd name="connsiteY606" fmla="*/ 13621 h 51323"/>
                <a:gd name="connsiteX607" fmla="*/ 14325 w 51323"/>
                <a:gd name="connsiteY607" fmla="*/ 13844 h 51323"/>
                <a:gd name="connsiteX608" fmla="*/ 14549 w 51323"/>
                <a:gd name="connsiteY608" fmla="*/ 13844 h 51323"/>
                <a:gd name="connsiteX609" fmla="*/ 14549 w 51323"/>
                <a:gd name="connsiteY609" fmla="*/ 13844 h 51323"/>
                <a:gd name="connsiteX610" fmla="*/ 14394 w 51323"/>
                <a:gd name="connsiteY610" fmla="*/ 13999 h 51323"/>
                <a:gd name="connsiteX611" fmla="*/ 14549 w 51323"/>
                <a:gd name="connsiteY611" fmla="*/ 13999 h 51323"/>
                <a:gd name="connsiteX612" fmla="*/ 14549 w 51323"/>
                <a:gd name="connsiteY612" fmla="*/ 13999 h 51323"/>
                <a:gd name="connsiteX613" fmla="*/ 14446 w 51323"/>
                <a:gd name="connsiteY613" fmla="*/ 14153 h 51323"/>
                <a:gd name="connsiteX614" fmla="*/ 14549 w 51323"/>
                <a:gd name="connsiteY614" fmla="*/ 14153 h 51323"/>
                <a:gd name="connsiteX615" fmla="*/ 14119 w 51323"/>
                <a:gd name="connsiteY615" fmla="*/ 14360 h 51323"/>
                <a:gd name="connsiteX616" fmla="*/ 13896 w 51323"/>
                <a:gd name="connsiteY616" fmla="*/ 14497 h 51323"/>
                <a:gd name="connsiteX617" fmla="*/ 13896 w 51323"/>
                <a:gd name="connsiteY617" fmla="*/ 14308 h 51323"/>
                <a:gd name="connsiteX618" fmla="*/ 13793 w 51323"/>
                <a:gd name="connsiteY618" fmla="*/ 14634 h 51323"/>
                <a:gd name="connsiteX619" fmla="*/ 14428 w 51323"/>
                <a:gd name="connsiteY619" fmla="*/ 14411 h 51323"/>
                <a:gd name="connsiteX620" fmla="*/ 14428 w 51323"/>
                <a:gd name="connsiteY620" fmla="*/ 14617 h 51323"/>
                <a:gd name="connsiteX621" fmla="*/ 14428 w 51323"/>
                <a:gd name="connsiteY621" fmla="*/ 14617 h 51323"/>
                <a:gd name="connsiteX622" fmla="*/ 14566 w 51323"/>
                <a:gd name="connsiteY622" fmla="*/ 14617 h 51323"/>
                <a:gd name="connsiteX623" fmla="*/ 14652 w 51323"/>
                <a:gd name="connsiteY623" fmla="*/ 14617 h 51323"/>
                <a:gd name="connsiteX624" fmla="*/ 14497 w 51323"/>
                <a:gd name="connsiteY624" fmla="*/ 14772 h 51323"/>
                <a:gd name="connsiteX625" fmla="*/ 14360 w 51323"/>
                <a:gd name="connsiteY625" fmla="*/ 14875 h 51323"/>
                <a:gd name="connsiteX626" fmla="*/ 14360 w 51323"/>
                <a:gd name="connsiteY626" fmla="*/ 15012 h 51323"/>
                <a:gd name="connsiteX627" fmla="*/ 13844 w 51323"/>
                <a:gd name="connsiteY627" fmla="*/ 15287 h 51323"/>
                <a:gd name="connsiteX628" fmla="*/ 13844 w 51323"/>
                <a:gd name="connsiteY628" fmla="*/ 15287 h 51323"/>
                <a:gd name="connsiteX629" fmla="*/ 12590 w 51323"/>
                <a:gd name="connsiteY629" fmla="*/ 15407 h 51323"/>
                <a:gd name="connsiteX630" fmla="*/ 12247 w 51323"/>
                <a:gd name="connsiteY630" fmla="*/ 15253 h 51323"/>
                <a:gd name="connsiteX631" fmla="*/ 10426 w 51323"/>
                <a:gd name="connsiteY631" fmla="*/ 16369 h 51323"/>
                <a:gd name="connsiteX632" fmla="*/ 11749 w 51323"/>
                <a:gd name="connsiteY632" fmla="*/ 16369 h 51323"/>
                <a:gd name="connsiteX633" fmla="*/ 11577 w 51323"/>
                <a:gd name="connsiteY633" fmla="*/ 16507 h 51323"/>
                <a:gd name="connsiteX634" fmla="*/ 11577 w 51323"/>
                <a:gd name="connsiteY634" fmla="*/ 16936 h 51323"/>
                <a:gd name="connsiteX635" fmla="*/ 11835 w 51323"/>
                <a:gd name="connsiteY635" fmla="*/ 17125 h 51323"/>
                <a:gd name="connsiteX636" fmla="*/ 11835 w 51323"/>
                <a:gd name="connsiteY636" fmla="*/ 17245 h 51323"/>
                <a:gd name="connsiteX637" fmla="*/ 11251 w 51323"/>
                <a:gd name="connsiteY637" fmla="*/ 17365 h 51323"/>
                <a:gd name="connsiteX638" fmla="*/ 10770 w 51323"/>
                <a:gd name="connsiteY638" fmla="*/ 17743 h 51323"/>
                <a:gd name="connsiteX639" fmla="*/ 10770 w 51323"/>
                <a:gd name="connsiteY639" fmla="*/ 17743 h 51323"/>
                <a:gd name="connsiteX640" fmla="*/ 10770 w 51323"/>
                <a:gd name="connsiteY640" fmla="*/ 17640 h 51323"/>
                <a:gd name="connsiteX641" fmla="*/ 11371 w 51323"/>
                <a:gd name="connsiteY641" fmla="*/ 17280 h 51323"/>
                <a:gd name="connsiteX642" fmla="*/ 11543 w 51323"/>
                <a:gd name="connsiteY642" fmla="*/ 17194 h 51323"/>
                <a:gd name="connsiteX643" fmla="*/ 11543 w 51323"/>
                <a:gd name="connsiteY643" fmla="*/ 16970 h 51323"/>
                <a:gd name="connsiteX644" fmla="*/ 11543 w 51323"/>
                <a:gd name="connsiteY644" fmla="*/ 16970 h 51323"/>
                <a:gd name="connsiteX645" fmla="*/ 11543 w 51323"/>
                <a:gd name="connsiteY645" fmla="*/ 16970 h 51323"/>
                <a:gd name="connsiteX646" fmla="*/ 11233 w 51323"/>
                <a:gd name="connsiteY646" fmla="*/ 16970 h 51323"/>
                <a:gd name="connsiteX647" fmla="*/ 10924 w 51323"/>
                <a:gd name="connsiteY647" fmla="*/ 16970 h 51323"/>
                <a:gd name="connsiteX648" fmla="*/ 10924 w 51323"/>
                <a:gd name="connsiteY648" fmla="*/ 17159 h 51323"/>
                <a:gd name="connsiteX649" fmla="*/ 10924 w 51323"/>
                <a:gd name="connsiteY649" fmla="*/ 17159 h 51323"/>
                <a:gd name="connsiteX650" fmla="*/ 10667 w 51323"/>
                <a:gd name="connsiteY650" fmla="*/ 17159 h 51323"/>
                <a:gd name="connsiteX651" fmla="*/ 10667 w 51323"/>
                <a:gd name="connsiteY651" fmla="*/ 17159 h 51323"/>
                <a:gd name="connsiteX652" fmla="*/ 10478 w 51323"/>
                <a:gd name="connsiteY652" fmla="*/ 17331 h 51323"/>
                <a:gd name="connsiteX653" fmla="*/ 10478 w 51323"/>
                <a:gd name="connsiteY653" fmla="*/ 17331 h 51323"/>
                <a:gd name="connsiteX654" fmla="*/ 10478 w 51323"/>
                <a:gd name="connsiteY654" fmla="*/ 17331 h 51323"/>
                <a:gd name="connsiteX655" fmla="*/ 10478 w 51323"/>
                <a:gd name="connsiteY655" fmla="*/ 17331 h 51323"/>
                <a:gd name="connsiteX656" fmla="*/ 10083 w 51323"/>
                <a:gd name="connsiteY656" fmla="*/ 18001 h 51323"/>
                <a:gd name="connsiteX657" fmla="*/ 9911 w 51323"/>
                <a:gd name="connsiteY657" fmla="*/ 18087 h 51323"/>
                <a:gd name="connsiteX658" fmla="*/ 9808 w 51323"/>
                <a:gd name="connsiteY658" fmla="*/ 18087 h 51323"/>
                <a:gd name="connsiteX659" fmla="*/ 8743 w 51323"/>
                <a:gd name="connsiteY659" fmla="*/ 18980 h 51323"/>
                <a:gd name="connsiteX660" fmla="*/ 8743 w 51323"/>
                <a:gd name="connsiteY660" fmla="*/ 18980 h 51323"/>
                <a:gd name="connsiteX661" fmla="*/ 8743 w 51323"/>
                <a:gd name="connsiteY661" fmla="*/ 18980 h 51323"/>
                <a:gd name="connsiteX662" fmla="*/ 8743 w 51323"/>
                <a:gd name="connsiteY662" fmla="*/ 18740 h 51323"/>
                <a:gd name="connsiteX663" fmla="*/ 8365 w 51323"/>
                <a:gd name="connsiteY663" fmla="*/ 19495 h 51323"/>
                <a:gd name="connsiteX664" fmla="*/ 8365 w 51323"/>
                <a:gd name="connsiteY664" fmla="*/ 19495 h 51323"/>
                <a:gd name="connsiteX665" fmla="*/ 8262 w 51323"/>
                <a:gd name="connsiteY665" fmla="*/ 19650 h 51323"/>
                <a:gd name="connsiteX666" fmla="*/ 8434 w 51323"/>
                <a:gd name="connsiteY666" fmla="*/ 19341 h 51323"/>
                <a:gd name="connsiteX667" fmla="*/ 8434 w 51323"/>
                <a:gd name="connsiteY667" fmla="*/ 19221 h 51323"/>
                <a:gd name="connsiteX668" fmla="*/ 8434 w 51323"/>
                <a:gd name="connsiteY668" fmla="*/ 19221 h 51323"/>
                <a:gd name="connsiteX669" fmla="*/ 8674 w 51323"/>
                <a:gd name="connsiteY669" fmla="*/ 18671 h 51323"/>
                <a:gd name="connsiteX670" fmla="*/ 8365 w 51323"/>
                <a:gd name="connsiteY670" fmla="*/ 19221 h 51323"/>
                <a:gd name="connsiteX671" fmla="*/ 8365 w 51323"/>
                <a:gd name="connsiteY671" fmla="*/ 18929 h 51323"/>
                <a:gd name="connsiteX672" fmla="*/ 8365 w 51323"/>
                <a:gd name="connsiteY672" fmla="*/ 19324 h 51323"/>
                <a:gd name="connsiteX673" fmla="*/ 8365 w 51323"/>
                <a:gd name="connsiteY673" fmla="*/ 19530 h 51323"/>
                <a:gd name="connsiteX674" fmla="*/ 8365 w 51323"/>
                <a:gd name="connsiteY674" fmla="*/ 19650 h 51323"/>
                <a:gd name="connsiteX675" fmla="*/ 8365 w 51323"/>
                <a:gd name="connsiteY675" fmla="*/ 19513 h 51323"/>
                <a:gd name="connsiteX676" fmla="*/ 8365 w 51323"/>
                <a:gd name="connsiteY676" fmla="*/ 19856 h 51323"/>
                <a:gd name="connsiteX677" fmla="*/ 8365 w 51323"/>
                <a:gd name="connsiteY677" fmla="*/ 19856 h 51323"/>
                <a:gd name="connsiteX678" fmla="*/ 8210 w 51323"/>
                <a:gd name="connsiteY678" fmla="*/ 19976 h 51323"/>
                <a:gd name="connsiteX679" fmla="*/ 8210 w 51323"/>
                <a:gd name="connsiteY679" fmla="*/ 20097 h 51323"/>
                <a:gd name="connsiteX680" fmla="*/ 8313 w 51323"/>
                <a:gd name="connsiteY680" fmla="*/ 20234 h 51323"/>
                <a:gd name="connsiteX681" fmla="*/ 8313 w 51323"/>
                <a:gd name="connsiteY681" fmla="*/ 20131 h 51323"/>
                <a:gd name="connsiteX682" fmla="*/ 8176 w 51323"/>
                <a:gd name="connsiteY682" fmla="*/ 20354 h 51323"/>
                <a:gd name="connsiteX683" fmla="*/ 8176 w 51323"/>
                <a:gd name="connsiteY683" fmla="*/ 20251 h 51323"/>
                <a:gd name="connsiteX684" fmla="*/ 8176 w 51323"/>
                <a:gd name="connsiteY684" fmla="*/ 20251 h 51323"/>
                <a:gd name="connsiteX685" fmla="*/ 8176 w 51323"/>
                <a:gd name="connsiteY685" fmla="*/ 20389 h 51323"/>
                <a:gd name="connsiteX686" fmla="*/ 8176 w 51323"/>
                <a:gd name="connsiteY686" fmla="*/ 20389 h 51323"/>
                <a:gd name="connsiteX687" fmla="*/ 8176 w 51323"/>
                <a:gd name="connsiteY687" fmla="*/ 20389 h 51323"/>
                <a:gd name="connsiteX688" fmla="*/ 8176 w 51323"/>
                <a:gd name="connsiteY688" fmla="*/ 20389 h 51323"/>
                <a:gd name="connsiteX689" fmla="*/ 6579 w 51323"/>
                <a:gd name="connsiteY689" fmla="*/ 22982 h 51323"/>
                <a:gd name="connsiteX690" fmla="*/ 6579 w 51323"/>
                <a:gd name="connsiteY690" fmla="*/ 22982 h 51323"/>
                <a:gd name="connsiteX691" fmla="*/ 6579 w 51323"/>
                <a:gd name="connsiteY691" fmla="*/ 22982 h 51323"/>
                <a:gd name="connsiteX692" fmla="*/ 6579 w 51323"/>
                <a:gd name="connsiteY692" fmla="*/ 22982 h 51323"/>
                <a:gd name="connsiteX693" fmla="*/ 6579 w 51323"/>
                <a:gd name="connsiteY693" fmla="*/ 22604 h 51323"/>
                <a:gd name="connsiteX694" fmla="*/ 6579 w 51323"/>
                <a:gd name="connsiteY694" fmla="*/ 22707 h 51323"/>
                <a:gd name="connsiteX695" fmla="*/ 6579 w 51323"/>
                <a:gd name="connsiteY695" fmla="*/ 21745 h 51323"/>
                <a:gd name="connsiteX696" fmla="*/ 6579 w 51323"/>
                <a:gd name="connsiteY696" fmla="*/ 21745 h 51323"/>
                <a:gd name="connsiteX697" fmla="*/ 6579 w 51323"/>
                <a:gd name="connsiteY697" fmla="*/ 21745 h 51323"/>
                <a:gd name="connsiteX698" fmla="*/ 6579 w 51323"/>
                <a:gd name="connsiteY698" fmla="*/ 21745 h 51323"/>
                <a:gd name="connsiteX699" fmla="*/ 6579 w 51323"/>
                <a:gd name="connsiteY699" fmla="*/ 21642 h 51323"/>
                <a:gd name="connsiteX700" fmla="*/ 6579 w 51323"/>
                <a:gd name="connsiteY700" fmla="*/ 21522 h 51323"/>
                <a:gd name="connsiteX701" fmla="*/ 6579 w 51323"/>
                <a:gd name="connsiteY701" fmla="*/ 21522 h 51323"/>
                <a:gd name="connsiteX702" fmla="*/ 6579 w 51323"/>
                <a:gd name="connsiteY702" fmla="*/ 21385 h 51323"/>
                <a:gd name="connsiteX703" fmla="*/ 6579 w 51323"/>
                <a:gd name="connsiteY703" fmla="*/ 21385 h 51323"/>
                <a:gd name="connsiteX704" fmla="*/ 6579 w 51323"/>
                <a:gd name="connsiteY704" fmla="*/ 21385 h 51323"/>
                <a:gd name="connsiteX705" fmla="*/ 6579 w 51323"/>
                <a:gd name="connsiteY705" fmla="*/ 21385 h 51323"/>
                <a:gd name="connsiteX706" fmla="*/ 6579 w 51323"/>
                <a:gd name="connsiteY706" fmla="*/ 21230 h 51323"/>
                <a:gd name="connsiteX707" fmla="*/ 6579 w 51323"/>
                <a:gd name="connsiteY707" fmla="*/ 21333 h 51323"/>
                <a:gd name="connsiteX708" fmla="*/ 6373 w 51323"/>
                <a:gd name="connsiteY708" fmla="*/ 21453 h 51323"/>
                <a:gd name="connsiteX709" fmla="*/ 6373 w 51323"/>
                <a:gd name="connsiteY709" fmla="*/ 21453 h 51323"/>
                <a:gd name="connsiteX710" fmla="*/ 6373 w 51323"/>
                <a:gd name="connsiteY710" fmla="*/ 21849 h 51323"/>
                <a:gd name="connsiteX711" fmla="*/ 6373 w 51323"/>
                <a:gd name="connsiteY711" fmla="*/ 21763 h 51323"/>
                <a:gd name="connsiteX712" fmla="*/ 6373 w 51323"/>
                <a:gd name="connsiteY712" fmla="*/ 21660 h 51323"/>
                <a:gd name="connsiteX713" fmla="*/ 6373 w 51323"/>
                <a:gd name="connsiteY713" fmla="*/ 21350 h 51323"/>
                <a:gd name="connsiteX714" fmla="*/ 6373 w 51323"/>
                <a:gd name="connsiteY714" fmla="*/ 21350 h 51323"/>
                <a:gd name="connsiteX715" fmla="*/ 6184 w 51323"/>
                <a:gd name="connsiteY715" fmla="*/ 21350 h 51323"/>
                <a:gd name="connsiteX716" fmla="*/ 6184 w 51323"/>
                <a:gd name="connsiteY716" fmla="*/ 21127 h 51323"/>
                <a:gd name="connsiteX717" fmla="*/ 6184 w 51323"/>
                <a:gd name="connsiteY717" fmla="*/ 21127 h 51323"/>
                <a:gd name="connsiteX718" fmla="*/ 6184 w 51323"/>
                <a:gd name="connsiteY718" fmla="*/ 21385 h 51323"/>
                <a:gd name="connsiteX719" fmla="*/ 6184 w 51323"/>
                <a:gd name="connsiteY719" fmla="*/ 21385 h 51323"/>
                <a:gd name="connsiteX720" fmla="*/ 6184 w 51323"/>
                <a:gd name="connsiteY720" fmla="*/ 21505 h 51323"/>
                <a:gd name="connsiteX721" fmla="*/ 6184 w 51323"/>
                <a:gd name="connsiteY721" fmla="*/ 21505 h 51323"/>
                <a:gd name="connsiteX722" fmla="*/ 6184 w 51323"/>
                <a:gd name="connsiteY722" fmla="*/ 21505 h 51323"/>
                <a:gd name="connsiteX723" fmla="*/ 6184 w 51323"/>
                <a:gd name="connsiteY723" fmla="*/ 21505 h 51323"/>
                <a:gd name="connsiteX724" fmla="*/ 6184 w 51323"/>
                <a:gd name="connsiteY724" fmla="*/ 21505 h 51323"/>
                <a:gd name="connsiteX725" fmla="*/ 6184 w 51323"/>
                <a:gd name="connsiteY725" fmla="*/ 21505 h 51323"/>
                <a:gd name="connsiteX726" fmla="*/ 6184 w 51323"/>
                <a:gd name="connsiteY726" fmla="*/ 21608 h 51323"/>
                <a:gd name="connsiteX727" fmla="*/ 6184 w 51323"/>
                <a:gd name="connsiteY727" fmla="*/ 21608 h 51323"/>
                <a:gd name="connsiteX728" fmla="*/ 5943 w 51323"/>
                <a:gd name="connsiteY728" fmla="*/ 22553 h 51323"/>
                <a:gd name="connsiteX729" fmla="*/ 5943 w 51323"/>
                <a:gd name="connsiteY729" fmla="*/ 22398 h 51323"/>
                <a:gd name="connsiteX730" fmla="*/ 5943 w 51323"/>
                <a:gd name="connsiteY730" fmla="*/ 22621 h 51323"/>
                <a:gd name="connsiteX731" fmla="*/ 5703 w 51323"/>
                <a:gd name="connsiteY731" fmla="*/ 24116 h 51323"/>
                <a:gd name="connsiteX732" fmla="*/ 5703 w 51323"/>
                <a:gd name="connsiteY732" fmla="*/ 25507 h 51323"/>
                <a:gd name="connsiteX733" fmla="*/ 5703 w 51323"/>
                <a:gd name="connsiteY733" fmla="*/ 25507 h 51323"/>
                <a:gd name="connsiteX734" fmla="*/ 5703 w 51323"/>
                <a:gd name="connsiteY734" fmla="*/ 25421 h 51323"/>
                <a:gd name="connsiteX735" fmla="*/ 5703 w 51323"/>
                <a:gd name="connsiteY735" fmla="*/ 25421 h 51323"/>
                <a:gd name="connsiteX736" fmla="*/ 5703 w 51323"/>
                <a:gd name="connsiteY736" fmla="*/ 25421 h 51323"/>
                <a:gd name="connsiteX737" fmla="*/ 5703 w 51323"/>
                <a:gd name="connsiteY737" fmla="*/ 25421 h 51323"/>
                <a:gd name="connsiteX738" fmla="*/ 5703 w 51323"/>
                <a:gd name="connsiteY738" fmla="*/ 25627 h 51323"/>
                <a:gd name="connsiteX739" fmla="*/ 5703 w 51323"/>
                <a:gd name="connsiteY739" fmla="*/ 25627 h 51323"/>
                <a:gd name="connsiteX740" fmla="*/ 5703 w 51323"/>
                <a:gd name="connsiteY740" fmla="*/ 25627 h 51323"/>
                <a:gd name="connsiteX741" fmla="*/ 5703 w 51323"/>
                <a:gd name="connsiteY741" fmla="*/ 25404 h 51323"/>
                <a:gd name="connsiteX742" fmla="*/ 5703 w 51323"/>
                <a:gd name="connsiteY742" fmla="*/ 25404 h 51323"/>
                <a:gd name="connsiteX743" fmla="*/ 5995 w 51323"/>
                <a:gd name="connsiteY743" fmla="*/ 24665 h 51323"/>
                <a:gd name="connsiteX744" fmla="*/ 5995 w 51323"/>
                <a:gd name="connsiteY744" fmla="*/ 24665 h 51323"/>
                <a:gd name="connsiteX745" fmla="*/ 5995 w 51323"/>
                <a:gd name="connsiteY745" fmla="*/ 24665 h 51323"/>
                <a:gd name="connsiteX746" fmla="*/ 5995 w 51323"/>
                <a:gd name="connsiteY746" fmla="*/ 24665 h 51323"/>
                <a:gd name="connsiteX747" fmla="*/ 5857 w 51323"/>
                <a:gd name="connsiteY747" fmla="*/ 25593 h 51323"/>
                <a:gd name="connsiteX748" fmla="*/ 5857 w 51323"/>
                <a:gd name="connsiteY748" fmla="*/ 25919 h 51323"/>
                <a:gd name="connsiteX749" fmla="*/ 5101 w 51323"/>
                <a:gd name="connsiteY749" fmla="*/ 26521 h 51323"/>
                <a:gd name="connsiteX750" fmla="*/ 4500 w 51323"/>
                <a:gd name="connsiteY750" fmla="*/ 25765 h 51323"/>
                <a:gd name="connsiteX751" fmla="*/ 4397 w 51323"/>
                <a:gd name="connsiteY751" fmla="*/ 26658 h 51323"/>
                <a:gd name="connsiteX752" fmla="*/ 4397 w 51323"/>
                <a:gd name="connsiteY752" fmla="*/ 26658 h 51323"/>
                <a:gd name="connsiteX753" fmla="*/ 4397 w 51323"/>
                <a:gd name="connsiteY753" fmla="*/ 26864 h 51323"/>
                <a:gd name="connsiteX754" fmla="*/ 4397 w 51323"/>
                <a:gd name="connsiteY754" fmla="*/ 26864 h 51323"/>
                <a:gd name="connsiteX755" fmla="*/ 4397 w 51323"/>
                <a:gd name="connsiteY755" fmla="*/ 26950 h 51323"/>
                <a:gd name="connsiteX756" fmla="*/ 4586 w 51323"/>
                <a:gd name="connsiteY756" fmla="*/ 26950 h 51323"/>
                <a:gd name="connsiteX757" fmla="*/ 4724 w 51323"/>
                <a:gd name="connsiteY757" fmla="*/ 27190 h 51323"/>
                <a:gd name="connsiteX758" fmla="*/ 4724 w 51323"/>
                <a:gd name="connsiteY758" fmla="*/ 27190 h 51323"/>
                <a:gd name="connsiteX759" fmla="*/ 4724 w 51323"/>
                <a:gd name="connsiteY759" fmla="*/ 27345 h 51323"/>
                <a:gd name="connsiteX760" fmla="*/ 4724 w 51323"/>
                <a:gd name="connsiteY760" fmla="*/ 27448 h 51323"/>
                <a:gd name="connsiteX761" fmla="*/ 4724 w 51323"/>
                <a:gd name="connsiteY761" fmla="*/ 27448 h 51323"/>
                <a:gd name="connsiteX762" fmla="*/ 4724 w 51323"/>
                <a:gd name="connsiteY762" fmla="*/ 28152 h 51323"/>
                <a:gd name="connsiteX763" fmla="*/ 4724 w 51323"/>
                <a:gd name="connsiteY763" fmla="*/ 28152 h 51323"/>
                <a:gd name="connsiteX764" fmla="*/ 4724 w 51323"/>
                <a:gd name="connsiteY764" fmla="*/ 28616 h 51323"/>
                <a:gd name="connsiteX765" fmla="*/ 4724 w 51323"/>
                <a:gd name="connsiteY765" fmla="*/ 28444 h 51323"/>
                <a:gd name="connsiteX766" fmla="*/ 4724 w 51323"/>
                <a:gd name="connsiteY766" fmla="*/ 28805 h 51323"/>
                <a:gd name="connsiteX767" fmla="*/ 4724 w 51323"/>
                <a:gd name="connsiteY767" fmla="*/ 28719 h 51323"/>
                <a:gd name="connsiteX768" fmla="*/ 4724 w 51323"/>
                <a:gd name="connsiteY768" fmla="*/ 29149 h 51323"/>
                <a:gd name="connsiteX769" fmla="*/ 4930 w 51323"/>
                <a:gd name="connsiteY769" fmla="*/ 29733 h 51323"/>
                <a:gd name="connsiteX770" fmla="*/ 5634 w 51323"/>
                <a:gd name="connsiteY770" fmla="*/ 30471 h 51323"/>
                <a:gd name="connsiteX771" fmla="*/ 5960 w 51323"/>
                <a:gd name="connsiteY771" fmla="*/ 29595 h 51323"/>
                <a:gd name="connsiteX772" fmla="*/ 5960 w 51323"/>
                <a:gd name="connsiteY772" fmla="*/ 29475 h 51323"/>
                <a:gd name="connsiteX773" fmla="*/ 6355 w 51323"/>
                <a:gd name="connsiteY773" fmla="*/ 29234 h 51323"/>
                <a:gd name="connsiteX774" fmla="*/ 6355 w 51323"/>
                <a:gd name="connsiteY774" fmla="*/ 30145 h 51323"/>
                <a:gd name="connsiteX775" fmla="*/ 6665 w 51323"/>
                <a:gd name="connsiteY775" fmla="*/ 29664 h 51323"/>
                <a:gd name="connsiteX776" fmla="*/ 6665 w 51323"/>
                <a:gd name="connsiteY776" fmla="*/ 29441 h 51323"/>
                <a:gd name="connsiteX777" fmla="*/ 6785 w 51323"/>
                <a:gd name="connsiteY777" fmla="*/ 29733 h 51323"/>
                <a:gd name="connsiteX778" fmla="*/ 7060 w 51323"/>
                <a:gd name="connsiteY778" fmla="*/ 30007 h 51323"/>
                <a:gd name="connsiteX779" fmla="*/ 7472 w 51323"/>
                <a:gd name="connsiteY779" fmla="*/ 30196 h 51323"/>
                <a:gd name="connsiteX780" fmla="*/ 8262 w 51323"/>
                <a:gd name="connsiteY780" fmla="*/ 30402 h 51323"/>
                <a:gd name="connsiteX781" fmla="*/ 8262 w 51323"/>
                <a:gd name="connsiteY781" fmla="*/ 30643 h 51323"/>
                <a:gd name="connsiteX782" fmla="*/ 8434 w 51323"/>
                <a:gd name="connsiteY782" fmla="*/ 31107 h 51323"/>
                <a:gd name="connsiteX783" fmla="*/ 9189 w 51323"/>
                <a:gd name="connsiteY783" fmla="*/ 32000 h 51323"/>
                <a:gd name="connsiteX784" fmla="*/ 9550 w 51323"/>
                <a:gd name="connsiteY784" fmla="*/ 32309 h 51323"/>
                <a:gd name="connsiteX785" fmla="*/ 10220 w 51323"/>
                <a:gd name="connsiteY785" fmla="*/ 32532 h 51323"/>
                <a:gd name="connsiteX786" fmla="*/ 10856 w 51323"/>
                <a:gd name="connsiteY786" fmla="*/ 33151 h 51323"/>
                <a:gd name="connsiteX787" fmla="*/ 11302 w 51323"/>
                <a:gd name="connsiteY787" fmla="*/ 33924 h 51323"/>
                <a:gd name="connsiteX788" fmla="*/ 11045 w 51323"/>
                <a:gd name="connsiteY788" fmla="*/ 34868 h 51323"/>
                <a:gd name="connsiteX789" fmla="*/ 11148 w 51323"/>
                <a:gd name="connsiteY789" fmla="*/ 34868 h 51323"/>
                <a:gd name="connsiteX790" fmla="*/ 11337 w 51323"/>
                <a:gd name="connsiteY790" fmla="*/ 34731 h 51323"/>
                <a:gd name="connsiteX791" fmla="*/ 11337 w 51323"/>
                <a:gd name="connsiteY791" fmla="*/ 34731 h 51323"/>
                <a:gd name="connsiteX792" fmla="*/ 11337 w 51323"/>
                <a:gd name="connsiteY792" fmla="*/ 35092 h 51323"/>
                <a:gd name="connsiteX793" fmla="*/ 11680 w 51323"/>
                <a:gd name="connsiteY793" fmla="*/ 35624 h 51323"/>
                <a:gd name="connsiteX794" fmla="*/ 12419 w 51323"/>
                <a:gd name="connsiteY794" fmla="*/ 35074 h 51323"/>
                <a:gd name="connsiteX795" fmla="*/ 12642 w 51323"/>
                <a:gd name="connsiteY795" fmla="*/ 35263 h 51323"/>
                <a:gd name="connsiteX796" fmla="*/ 12882 w 51323"/>
                <a:gd name="connsiteY796" fmla="*/ 35469 h 51323"/>
                <a:gd name="connsiteX797" fmla="*/ 12968 w 51323"/>
                <a:gd name="connsiteY797" fmla="*/ 35830 h 51323"/>
                <a:gd name="connsiteX798" fmla="*/ 12968 w 51323"/>
                <a:gd name="connsiteY798" fmla="*/ 35710 h 51323"/>
                <a:gd name="connsiteX799" fmla="*/ 12968 w 51323"/>
                <a:gd name="connsiteY799" fmla="*/ 35504 h 51323"/>
                <a:gd name="connsiteX800" fmla="*/ 13363 w 51323"/>
                <a:gd name="connsiteY800" fmla="*/ 35641 h 51323"/>
                <a:gd name="connsiteX801" fmla="*/ 13466 w 51323"/>
                <a:gd name="connsiteY801" fmla="*/ 35744 h 51323"/>
                <a:gd name="connsiteX802" fmla="*/ 13466 w 51323"/>
                <a:gd name="connsiteY802" fmla="*/ 35744 h 51323"/>
                <a:gd name="connsiteX803" fmla="*/ 13466 w 51323"/>
                <a:gd name="connsiteY803" fmla="*/ 35744 h 51323"/>
                <a:gd name="connsiteX804" fmla="*/ 13466 w 51323"/>
                <a:gd name="connsiteY804" fmla="*/ 35744 h 51323"/>
                <a:gd name="connsiteX805" fmla="*/ 14926 w 51323"/>
                <a:gd name="connsiteY805" fmla="*/ 38922 h 51323"/>
                <a:gd name="connsiteX806" fmla="*/ 14926 w 51323"/>
                <a:gd name="connsiteY806" fmla="*/ 38819 h 51323"/>
                <a:gd name="connsiteX807" fmla="*/ 14806 w 51323"/>
                <a:gd name="connsiteY807" fmla="*/ 38819 h 51323"/>
                <a:gd name="connsiteX808" fmla="*/ 14806 w 51323"/>
                <a:gd name="connsiteY808" fmla="*/ 38819 h 51323"/>
                <a:gd name="connsiteX809" fmla="*/ 14806 w 51323"/>
                <a:gd name="connsiteY809" fmla="*/ 41447 h 51323"/>
                <a:gd name="connsiteX810" fmla="*/ 14806 w 51323"/>
                <a:gd name="connsiteY810" fmla="*/ 41447 h 51323"/>
                <a:gd name="connsiteX811" fmla="*/ 14600 w 51323"/>
                <a:gd name="connsiteY811" fmla="*/ 41447 h 51323"/>
                <a:gd name="connsiteX812" fmla="*/ 14600 w 51323"/>
                <a:gd name="connsiteY812" fmla="*/ 41687 h 51323"/>
                <a:gd name="connsiteX813" fmla="*/ 14154 w 51323"/>
                <a:gd name="connsiteY813" fmla="*/ 41962 h 51323"/>
                <a:gd name="connsiteX814" fmla="*/ 14154 w 51323"/>
                <a:gd name="connsiteY814" fmla="*/ 41962 h 51323"/>
                <a:gd name="connsiteX815" fmla="*/ 14154 w 51323"/>
                <a:gd name="connsiteY815" fmla="*/ 42048 h 51323"/>
                <a:gd name="connsiteX816" fmla="*/ 14154 w 51323"/>
                <a:gd name="connsiteY816" fmla="*/ 42048 h 51323"/>
                <a:gd name="connsiteX817" fmla="*/ 14411 w 51323"/>
                <a:gd name="connsiteY817" fmla="*/ 42529 h 51323"/>
                <a:gd name="connsiteX818" fmla="*/ 14411 w 51323"/>
                <a:gd name="connsiteY818" fmla="*/ 43336 h 51323"/>
                <a:gd name="connsiteX819" fmla="*/ 14411 w 51323"/>
                <a:gd name="connsiteY819" fmla="*/ 43250 h 51323"/>
                <a:gd name="connsiteX820" fmla="*/ 14411 w 51323"/>
                <a:gd name="connsiteY820" fmla="*/ 43113 h 51323"/>
                <a:gd name="connsiteX821" fmla="*/ 14171 w 51323"/>
                <a:gd name="connsiteY821" fmla="*/ 42924 h 51323"/>
                <a:gd name="connsiteX822" fmla="*/ 14325 w 51323"/>
                <a:gd name="connsiteY822" fmla="*/ 43113 h 51323"/>
                <a:gd name="connsiteX823" fmla="*/ 14325 w 51323"/>
                <a:gd name="connsiteY823" fmla="*/ 43250 h 51323"/>
                <a:gd name="connsiteX824" fmla="*/ 13844 w 51323"/>
                <a:gd name="connsiteY824" fmla="*/ 43817 h 51323"/>
                <a:gd name="connsiteX825" fmla="*/ 14549 w 51323"/>
                <a:gd name="connsiteY825" fmla="*/ 44418 h 51323"/>
                <a:gd name="connsiteX826" fmla="*/ 14549 w 51323"/>
                <a:gd name="connsiteY826" fmla="*/ 44418 h 51323"/>
                <a:gd name="connsiteX827" fmla="*/ 14755 w 51323"/>
                <a:gd name="connsiteY827" fmla="*/ 44693 h 51323"/>
                <a:gd name="connsiteX828" fmla="*/ 14755 w 51323"/>
                <a:gd name="connsiteY828" fmla="*/ 44693 h 51323"/>
                <a:gd name="connsiteX829" fmla="*/ 14755 w 51323"/>
                <a:gd name="connsiteY829" fmla="*/ 44882 h 51323"/>
                <a:gd name="connsiteX830" fmla="*/ 14291 w 51323"/>
                <a:gd name="connsiteY830" fmla="*/ 44882 h 51323"/>
                <a:gd name="connsiteX831" fmla="*/ 14566 w 51323"/>
                <a:gd name="connsiteY831" fmla="*/ 45123 h 51323"/>
                <a:gd name="connsiteX832" fmla="*/ 14566 w 51323"/>
                <a:gd name="connsiteY832" fmla="*/ 45123 h 51323"/>
                <a:gd name="connsiteX833" fmla="*/ 14463 w 51323"/>
                <a:gd name="connsiteY833" fmla="*/ 45294 h 51323"/>
                <a:gd name="connsiteX834" fmla="*/ 15012 w 51323"/>
                <a:gd name="connsiteY834" fmla="*/ 45707 h 51323"/>
                <a:gd name="connsiteX835" fmla="*/ 15012 w 51323"/>
                <a:gd name="connsiteY835" fmla="*/ 45707 h 51323"/>
                <a:gd name="connsiteX836" fmla="*/ 15012 w 51323"/>
                <a:gd name="connsiteY836" fmla="*/ 45707 h 51323"/>
                <a:gd name="connsiteX837" fmla="*/ 15717 w 51323"/>
                <a:gd name="connsiteY837" fmla="*/ 46359 h 51323"/>
                <a:gd name="connsiteX838" fmla="*/ 15717 w 51323"/>
                <a:gd name="connsiteY838" fmla="*/ 46359 h 51323"/>
                <a:gd name="connsiteX839" fmla="*/ 15717 w 51323"/>
                <a:gd name="connsiteY839" fmla="*/ 46359 h 51323"/>
                <a:gd name="connsiteX840" fmla="*/ 15717 w 51323"/>
                <a:gd name="connsiteY840" fmla="*/ 46359 h 51323"/>
                <a:gd name="connsiteX841" fmla="*/ 16730 w 51323"/>
                <a:gd name="connsiteY841" fmla="*/ 47012 h 51323"/>
                <a:gd name="connsiteX842" fmla="*/ 16730 w 51323"/>
                <a:gd name="connsiteY842" fmla="*/ 47012 h 51323"/>
                <a:gd name="connsiteX843" fmla="*/ 16730 w 51323"/>
                <a:gd name="connsiteY843" fmla="*/ 47012 h 51323"/>
                <a:gd name="connsiteX844" fmla="*/ 16730 w 51323"/>
                <a:gd name="connsiteY844" fmla="*/ 47012 h 51323"/>
                <a:gd name="connsiteX845" fmla="*/ 16885 w 51323"/>
                <a:gd name="connsiteY845" fmla="*/ 47132 h 51323"/>
                <a:gd name="connsiteX846" fmla="*/ 16885 w 51323"/>
                <a:gd name="connsiteY846" fmla="*/ 47132 h 51323"/>
                <a:gd name="connsiteX847" fmla="*/ 17091 w 51323"/>
                <a:gd name="connsiteY847" fmla="*/ 47270 h 51323"/>
                <a:gd name="connsiteX848" fmla="*/ 16988 w 51323"/>
                <a:gd name="connsiteY848" fmla="*/ 47270 h 51323"/>
                <a:gd name="connsiteX849" fmla="*/ 17898 w 51323"/>
                <a:gd name="connsiteY849" fmla="*/ 47751 h 51323"/>
                <a:gd name="connsiteX850" fmla="*/ 17898 w 51323"/>
                <a:gd name="connsiteY850" fmla="*/ 47751 h 51323"/>
                <a:gd name="connsiteX851" fmla="*/ 17898 w 51323"/>
                <a:gd name="connsiteY851" fmla="*/ 47751 h 51323"/>
                <a:gd name="connsiteX852" fmla="*/ 17898 w 51323"/>
                <a:gd name="connsiteY852" fmla="*/ 47751 h 51323"/>
                <a:gd name="connsiteX853" fmla="*/ 18396 w 51323"/>
                <a:gd name="connsiteY853" fmla="*/ 48008 h 51323"/>
                <a:gd name="connsiteX854" fmla="*/ 18173 w 51323"/>
                <a:gd name="connsiteY854" fmla="*/ 48008 h 51323"/>
                <a:gd name="connsiteX855" fmla="*/ 20560 w 51323"/>
                <a:gd name="connsiteY855" fmla="*/ 10117 h 51323"/>
                <a:gd name="connsiteX856" fmla="*/ 20560 w 51323"/>
                <a:gd name="connsiteY856" fmla="*/ 9980 h 51323"/>
                <a:gd name="connsiteX857" fmla="*/ 20286 w 51323"/>
                <a:gd name="connsiteY857" fmla="*/ 10323 h 51323"/>
                <a:gd name="connsiteX858" fmla="*/ 19289 w 51323"/>
                <a:gd name="connsiteY858" fmla="*/ 10907 h 51323"/>
                <a:gd name="connsiteX859" fmla="*/ 19152 w 51323"/>
                <a:gd name="connsiteY859" fmla="*/ 11165 h 51323"/>
                <a:gd name="connsiteX860" fmla="*/ 19152 w 51323"/>
                <a:gd name="connsiteY860" fmla="*/ 11165 h 51323"/>
                <a:gd name="connsiteX861" fmla="*/ 18997 w 51323"/>
                <a:gd name="connsiteY861" fmla="*/ 11165 h 51323"/>
                <a:gd name="connsiteX862" fmla="*/ 18585 w 51323"/>
                <a:gd name="connsiteY862" fmla="*/ 11577 h 51323"/>
                <a:gd name="connsiteX863" fmla="*/ 18259 w 51323"/>
                <a:gd name="connsiteY863" fmla="*/ 11903 h 51323"/>
                <a:gd name="connsiteX864" fmla="*/ 18001 w 51323"/>
                <a:gd name="connsiteY864" fmla="*/ 12109 h 51323"/>
                <a:gd name="connsiteX865" fmla="*/ 17743 w 51323"/>
                <a:gd name="connsiteY865" fmla="*/ 12006 h 51323"/>
                <a:gd name="connsiteX866" fmla="*/ 17503 w 51323"/>
                <a:gd name="connsiteY866" fmla="*/ 11783 h 51323"/>
                <a:gd name="connsiteX867" fmla="*/ 18018 w 51323"/>
                <a:gd name="connsiteY867" fmla="*/ 10461 h 51323"/>
                <a:gd name="connsiteX868" fmla="*/ 18448 w 51323"/>
                <a:gd name="connsiteY868" fmla="*/ 10134 h 51323"/>
                <a:gd name="connsiteX869" fmla="*/ 18448 w 51323"/>
                <a:gd name="connsiteY869" fmla="*/ 9739 h 51323"/>
                <a:gd name="connsiteX870" fmla="*/ 18345 w 51323"/>
                <a:gd name="connsiteY870" fmla="*/ 9739 h 51323"/>
                <a:gd name="connsiteX871" fmla="*/ 18963 w 51323"/>
                <a:gd name="connsiteY871" fmla="*/ 9344 h 51323"/>
                <a:gd name="connsiteX872" fmla="*/ 18774 w 51323"/>
                <a:gd name="connsiteY872" fmla="*/ 9104 h 51323"/>
                <a:gd name="connsiteX873" fmla="*/ 19324 w 51323"/>
                <a:gd name="connsiteY873" fmla="*/ 9104 h 51323"/>
                <a:gd name="connsiteX874" fmla="*/ 19324 w 51323"/>
                <a:gd name="connsiteY874" fmla="*/ 8966 h 51323"/>
                <a:gd name="connsiteX875" fmla="*/ 18946 w 51323"/>
                <a:gd name="connsiteY875" fmla="*/ 8966 h 51323"/>
                <a:gd name="connsiteX876" fmla="*/ 19598 w 51323"/>
                <a:gd name="connsiteY876" fmla="*/ 8674 h 51323"/>
                <a:gd name="connsiteX877" fmla="*/ 19598 w 51323"/>
                <a:gd name="connsiteY877" fmla="*/ 8674 h 51323"/>
                <a:gd name="connsiteX878" fmla="*/ 20182 w 51323"/>
                <a:gd name="connsiteY878" fmla="*/ 8193 h 51323"/>
                <a:gd name="connsiteX879" fmla="*/ 20354 w 51323"/>
                <a:gd name="connsiteY879" fmla="*/ 7953 h 51323"/>
                <a:gd name="connsiteX880" fmla="*/ 20560 w 51323"/>
                <a:gd name="connsiteY880" fmla="*/ 7764 h 51323"/>
                <a:gd name="connsiteX881" fmla="*/ 20681 w 51323"/>
                <a:gd name="connsiteY881" fmla="*/ 7386 h 51323"/>
                <a:gd name="connsiteX882" fmla="*/ 21746 w 51323"/>
                <a:gd name="connsiteY882" fmla="*/ 6338 h 51323"/>
                <a:gd name="connsiteX883" fmla="*/ 22914 w 51323"/>
                <a:gd name="connsiteY883" fmla="*/ 4981 h 51323"/>
                <a:gd name="connsiteX884" fmla="*/ 23326 w 51323"/>
                <a:gd name="connsiteY884" fmla="*/ 4844 h 51323"/>
                <a:gd name="connsiteX885" fmla="*/ 26761 w 51323"/>
                <a:gd name="connsiteY885" fmla="*/ 3693 h 51323"/>
                <a:gd name="connsiteX886" fmla="*/ 26881 w 51323"/>
                <a:gd name="connsiteY886" fmla="*/ 3693 h 51323"/>
                <a:gd name="connsiteX887" fmla="*/ 26607 w 51323"/>
                <a:gd name="connsiteY887" fmla="*/ 3951 h 51323"/>
                <a:gd name="connsiteX888" fmla="*/ 26211 w 51323"/>
                <a:gd name="connsiteY888" fmla="*/ 4208 h 51323"/>
                <a:gd name="connsiteX889" fmla="*/ 26211 w 51323"/>
                <a:gd name="connsiteY889" fmla="*/ 4329 h 51323"/>
                <a:gd name="connsiteX890" fmla="*/ 26074 w 51323"/>
                <a:gd name="connsiteY890" fmla="*/ 4500 h 51323"/>
                <a:gd name="connsiteX891" fmla="*/ 26383 w 51323"/>
                <a:gd name="connsiteY891" fmla="*/ 4621 h 51323"/>
                <a:gd name="connsiteX892" fmla="*/ 26057 w 51323"/>
                <a:gd name="connsiteY892" fmla="*/ 4947 h 51323"/>
                <a:gd name="connsiteX893" fmla="*/ 25301 w 51323"/>
                <a:gd name="connsiteY893" fmla="*/ 6235 h 51323"/>
                <a:gd name="connsiteX894" fmla="*/ 25112 w 51323"/>
                <a:gd name="connsiteY894" fmla="*/ 6373 h 51323"/>
                <a:gd name="connsiteX895" fmla="*/ 25009 w 51323"/>
                <a:gd name="connsiteY895" fmla="*/ 6596 h 51323"/>
                <a:gd name="connsiteX896" fmla="*/ 24751 w 51323"/>
                <a:gd name="connsiteY896" fmla="*/ 6596 h 51323"/>
                <a:gd name="connsiteX897" fmla="*/ 24751 w 51323"/>
                <a:gd name="connsiteY897" fmla="*/ 6768 h 51323"/>
                <a:gd name="connsiteX898" fmla="*/ 24751 w 51323"/>
                <a:gd name="connsiteY898" fmla="*/ 7180 h 51323"/>
                <a:gd name="connsiteX899" fmla="*/ 24442 w 51323"/>
                <a:gd name="connsiteY899" fmla="*/ 7489 h 51323"/>
                <a:gd name="connsiteX900" fmla="*/ 24133 w 51323"/>
                <a:gd name="connsiteY900" fmla="*/ 7489 h 51323"/>
                <a:gd name="connsiteX901" fmla="*/ 23738 w 51323"/>
                <a:gd name="connsiteY901" fmla="*/ 7626 h 51323"/>
                <a:gd name="connsiteX902" fmla="*/ 23738 w 51323"/>
                <a:gd name="connsiteY902" fmla="*/ 7781 h 51323"/>
                <a:gd name="connsiteX903" fmla="*/ 23824 w 51323"/>
                <a:gd name="connsiteY903" fmla="*/ 7987 h 51323"/>
                <a:gd name="connsiteX904" fmla="*/ 23583 w 51323"/>
                <a:gd name="connsiteY904" fmla="*/ 8262 h 51323"/>
                <a:gd name="connsiteX905" fmla="*/ 23137 w 51323"/>
                <a:gd name="connsiteY905" fmla="*/ 8520 h 51323"/>
                <a:gd name="connsiteX906" fmla="*/ 22931 w 51323"/>
                <a:gd name="connsiteY906" fmla="*/ 8726 h 51323"/>
                <a:gd name="connsiteX907" fmla="*/ 22931 w 51323"/>
                <a:gd name="connsiteY907" fmla="*/ 8846 h 51323"/>
                <a:gd name="connsiteX908" fmla="*/ 23446 w 51323"/>
                <a:gd name="connsiteY908" fmla="*/ 9121 h 51323"/>
                <a:gd name="connsiteX909" fmla="*/ 23137 w 51323"/>
                <a:gd name="connsiteY909" fmla="*/ 9275 h 51323"/>
                <a:gd name="connsiteX910" fmla="*/ 21952 w 51323"/>
                <a:gd name="connsiteY910" fmla="*/ 9396 h 51323"/>
                <a:gd name="connsiteX911" fmla="*/ 21831 w 51323"/>
                <a:gd name="connsiteY911" fmla="*/ 9653 h 51323"/>
                <a:gd name="connsiteX912" fmla="*/ 20560 w 51323"/>
                <a:gd name="connsiteY912" fmla="*/ 10117 h 51323"/>
                <a:gd name="connsiteX913" fmla="*/ 23669 w 51323"/>
                <a:gd name="connsiteY913" fmla="*/ 11440 h 51323"/>
                <a:gd name="connsiteX914" fmla="*/ 23412 w 51323"/>
                <a:gd name="connsiteY914" fmla="*/ 11440 h 51323"/>
                <a:gd name="connsiteX915" fmla="*/ 23274 w 51323"/>
                <a:gd name="connsiteY915" fmla="*/ 11319 h 51323"/>
                <a:gd name="connsiteX916" fmla="*/ 23274 w 51323"/>
                <a:gd name="connsiteY916" fmla="*/ 11319 h 51323"/>
                <a:gd name="connsiteX917" fmla="*/ 22965 w 51323"/>
                <a:gd name="connsiteY917" fmla="*/ 11319 h 51323"/>
                <a:gd name="connsiteX918" fmla="*/ 22965 w 51323"/>
                <a:gd name="connsiteY918" fmla="*/ 11319 h 51323"/>
                <a:gd name="connsiteX919" fmla="*/ 22965 w 51323"/>
                <a:gd name="connsiteY919" fmla="*/ 11233 h 51323"/>
                <a:gd name="connsiteX920" fmla="*/ 22965 w 51323"/>
                <a:gd name="connsiteY920" fmla="*/ 11233 h 51323"/>
                <a:gd name="connsiteX921" fmla="*/ 23206 w 51323"/>
                <a:gd name="connsiteY921" fmla="*/ 11148 h 51323"/>
                <a:gd name="connsiteX922" fmla="*/ 23206 w 51323"/>
                <a:gd name="connsiteY922" fmla="*/ 11027 h 51323"/>
                <a:gd name="connsiteX923" fmla="*/ 23206 w 51323"/>
                <a:gd name="connsiteY923" fmla="*/ 10941 h 51323"/>
                <a:gd name="connsiteX924" fmla="*/ 22948 w 51323"/>
                <a:gd name="connsiteY924" fmla="*/ 10821 h 51323"/>
                <a:gd name="connsiteX925" fmla="*/ 23223 w 51323"/>
                <a:gd name="connsiteY925" fmla="*/ 10821 h 51323"/>
                <a:gd name="connsiteX926" fmla="*/ 23412 w 51323"/>
                <a:gd name="connsiteY926" fmla="*/ 10718 h 51323"/>
                <a:gd name="connsiteX927" fmla="*/ 23412 w 51323"/>
                <a:gd name="connsiteY927" fmla="*/ 10718 h 51323"/>
                <a:gd name="connsiteX928" fmla="*/ 23412 w 51323"/>
                <a:gd name="connsiteY928" fmla="*/ 10632 h 51323"/>
                <a:gd name="connsiteX929" fmla="*/ 23412 w 51323"/>
                <a:gd name="connsiteY929" fmla="*/ 10632 h 51323"/>
                <a:gd name="connsiteX930" fmla="*/ 23412 w 51323"/>
                <a:gd name="connsiteY930" fmla="*/ 10632 h 51323"/>
                <a:gd name="connsiteX931" fmla="*/ 23412 w 51323"/>
                <a:gd name="connsiteY931" fmla="*/ 10632 h 51323"/>
                <a:gd name="connsiteX932" fmla="*/ 23291 w 51323"/>
                <a:gd name="connsiteY932" fmla="*/ 10632 h 51323"/>
                <a:gd name="connsiteX933" fmla="*/ 23291 w 51323"/>
                <a:gd name="connsiteY933" fmla="*/ 10632 h 51323"/>
                <a:gd name="connsiteX934" fmla="*/ 23291 w 51323"/>
                <a:gd name="connsiteY934" fmla="*/ 10632 h 51323"/>
                <a:gd name="connsiteX935" fmla="*/ 23291 w 51323"/>
                <a:gd name="connsiteY935" fmla="*/ 10632 h 51323"/>
                <a:gd name="connsiteX936" fmla="*/ 23291 w 51323"/>
                <a:gd name="connsiteY936" fmla="*/ 10632 h 51323"/>
                <a:gd name="connsiteX937" fmla="*/ 23291 w 51323"/>
                <a:gd name="connsiteY937" fmla="*/ 10632 h 51323"/>
                <a:gd name="connsiteX938" fmla="*/ 23291 w 51323"/>
                <a:gd name="connsiteY938" fmla="*/ 10632 h 51323"/>
                <a:gd name="connsiteX939" fmla="*/ 23291 w 51323"/>
                <a:gd name="connsiteY939" fmla="*/ 10478 h 51323"/>
                <a:gd name="connsiteX940" fmla="*/ 23291 w 51323"/>
                <a:gd name="connsiteY940" fmla="*/ 10581 h 51323"/>
                <a:gd name="connsiteX941" fmla="*/ 23291 w 51323"/>
                <a:gd name="connsiteY941" fmla="*/ 10581 h 51323"/>
                <a:gd name="connsiteX942" fmla="*/ 23291 w 51323"/>
                <a:gd name="connsiteY942" fmla="*/ 10581 h 51323"/>
                <a:gd name="connsiteX943" fmla="*/ 23291 w 51323"/>
                <a:gd name="connsiteY943" fmla="*/ 10667 h 51323"/>
                <a:gd name="connsiteX944" fmla="*/ 23291 w 51323"/>
                <a:gd name="connsiteY944" fmla="*/ 10787 h 51323"/>
                <a:gd name="connsiteX945" fmla="*/ 23291 w 51323"/>
                <a:gd name="connsiteY945" fmla="*/ 10873 h 51323"/>
                <a:gd name="connsiteX946" fmla="*/ 23429 w 51323"/>
                <a:gd name="connsiteY946" fmla="*/ 10701 h 51323"/>
                <a:gd name="connsiteX947" fmla="*/ 23601 w 51323"/>
                <a:gd name="connsiteY947" fmla="*/ 10461 h 51323"/>
                <a:gd name="connsiteX948" fmla="*/ 23601 w 51323"/>
                <a:gd name="connsiteY948" fmla="*/ 10598 h 51323"/>
                <a:gd name="connsiteX949" fmla="*/ 23790 w 51323"/>
                <a:gd name="connsiteY949" fmla="*/ 10478 h 51323"/>
                <a:gd name="connsiteX950" fmla="*/ 23790 w 51323"/>
                <a:gd name="connsiteY950" fmla="*/ 10787 h 51323"/>
                <a:gd name="connsiteX951" fmla="*/ 23961 w 51323"/>
                <a:gd name="connsiteY951" fmla="*/ 10512 h 51323"/>
                <a:gd name="connsiteX952" fmla="*/ 24099 w 51323"/>
                <a:gd name="connsiteY952" fmla="*/ 10512 h 51323"/>
                <a:gd name="connsiteX953" fmla="*/ 24322 w 51323"/>
                <a:gd name="connsiteY953" fmla="*/ 10512 h 51323"/>
                <a:gd name="connsiteX954" fmla="*/ 24528 w 51323"/>
                <a:gd name="connsiteY954" fmla="*/ 10512 h 51323"/>
                <a:gd name="connsiteX955" fmla="*/ 24528 w 51323"/>
                <a:gd name="connsiteY955" fmla="*/ 10632 h 51323"/>
                <a:gd name="connsiteX956" fmla="*/ 24528 w 51323"/>
                <a:gd name="connsiteY956" fmla="*/ 10804 h 51323"/>
                <a:gd name="connsiteX957" fmla="*/ 24528 w 51323"/>
                <a:gd name="connsiteY957" fmla="*/ 10804 h 51323"/>
                <a:gd name="connsiteX958" fmla="*/ 24528 w 51323"/>
                <a:gd name="connsiteY958" fmla="*/ 10924 h 51323"/>
                <a:gd name="connsiteX959" fmla="*/ 24528 w 51323"/>
                <a:gd name="connsiteY959" fmla="*/ 11148 h 51323"/>
                <a:gd name="connsiteX960" fmla="*/ 24288 w 51323"/>
                <a:gd name="connsiteY960" fmla="*/ 11148 h 51323"/>
                <a:gd name="connsiteX961" fmla="*/ 23978 w 51323"/>
                <a:gd name="connsiteY961" fmla="*/ 11388 h 51323"/>
                <a:gd name="connsiteX962" fmla="*/ 23978 w 51323"/>
                <a:gd name="connsiteY962" fmla="*/ 11388 h 51323"/>
                <a:gd name="connsiteX963" fmla="*/ 23790 w 51323"/>
                <a:gd name="connsiteY963" fmla="*/ 11388 h 51323"/>
                <a:gd name="connsiteX964" fmla="*/ 23790 w 51323"/>
                <a:gd name="connsiteY964" fmla="*/ 11388 h 51323"/>
                <a:gd name="connsiteX965" fmla="*/ 23669 w 51323"/>
                <a:gd name="connsiteY965" fmla="*/ 11440 h 51323"/>
                <a:gd name="connsiteX966" fmla="*/ 38184 w 51323"/>
                <a:gd name="connsiteY966" fmla="*/ 41533 h 51323"/>
                <a:gd name="connsiteX967" fmla="*/ 38802 w 51323"/>
                <a:gd name="connsiteY967" fmla="*/ 40640 h 51323"/>
                <a:gd name="connsiteX968" fmla="*/ 39540 w 51323"/>
                <a:gd name="connsiteY968" fmla="*/ 39523 h 51323"/>
                <a:gd name="connsiteX969" fmla="*/ 39540 w 51323"/>
                <a:gd name="connsiteY969" fmla="*/ 39523 h 51323"/>
                <a:gd name="connsiteX970" fmla="*/ 39540 w 51323"/>
                <a:gd name="connsiteY970" fmla="*/ 39523 h 51323"/>
                <a:gd name="connsiteX971" fmla="*/ 39781 w 51323"/>
                <a:gd name="connsiteY971" fmla="*/ 39386 h 51323"/>
                <a:gd name="connsiteX972" fmla="*/ 39953 w 51323"/>
                <a:gd name="connsiteY972" fmla="*/ 39386 h 51323"/>
                <a:gd name="connsiteX973" fmla="*/ 39953 w 51323"/>
                <a:gd name="connsiteY973" fmla="*/ 39386 h 51323"/>
                <a:gd name="connsiteX974" fmla="*/ 39953 w 51323"/>
                <a:gd name="connsiteY974" fmla="*/ 39248 h 51323"/>
                <a:gd name="connsiteX975" fmla="*/ 39953 w 51323"/>
                <a:gd name="connsiteY975" fmla="*/ 39248 h 51323"/>
                <a:gd name="connsiteX976" fmla="*/ 39953 w 51323"/>
                <a:gd name="connsiteY976" fmla="*/ 39248 h 51323"/>
                <a:gd name="connsiteX977" fmla="*/ 39953 w 51323"/>
                <a:gd name="connsiteY977" fmla="*/ 39369 h 51323"/>
                <a:gd name="connsiteX978" fmla="*/ 40107 w 51323"/>
                <a:gd name="connsiteY978" fmla="*/ 39266 h 51323"/>
                <a:gd name="connsiteX979" fmla="*/ 40107 w 51323"/>
                <a:gd name="connsiteY979" fmla="*/ 39145 h 51323"/>
                <a:gd name="connsiteX980" fmla="*/ 40107 w 51323"/>
                <a:gd name="connsiteY980" fmla="*/ 39042 h 51323"/>
                <a:gd name="connsiteX981" fmla="*/ 40262 w 51323"/>
                <a:gd name="connsiteY981" fmla="*/ 38939 h 51323"/>
                <a:gd name="connsiteX982" fmla="*/ 40485 w 51323"/>
                <a:gd name="connsiteY982" fmla="*/ 38561 h 51323"/>
                <a:gd name="connsiteX983" fmla="*/ 40674 w 51323"/>
                <a:gd name="connsiteY983" fmla="*/ 38441 h 51323"/>
                <a:gd name="connsiteX984" fmla="*/ 40674 w 51323"/>
                <a:gd name="connsiteY984" fmla="*/ 38664 h 51323"/>
                <a:gd name="connsiteX985" fmla="*/ 38184 w 51323"/>
                <a:gd name="connsiteY985" fmla="*/ 41533 h 51323"/>
                <a:gd name="connsiteX986" fmla="*/ 49159 w 51323"/>
                <a:gd name="connsiteY986" fmla="*/ 26589 h 51323"/>
                <a:gd name="connsiteX987" fmla="*/ 49159 w 51323"/>
                <a:gd name="connsiteY987" fmla="*/ 26589 h 51323"/>
                <a:gd name="connsiteX988" fmla="*/ 48386 w 51323"/>
                <a:gd name="connsiteY988" fmla="*/ 30643 h 51323"/>
                <a:gd name="connsiteX989" fmla="*/ 48215 w 51323"/>
                <a:gd name="connsiteY989" fmla="*/ 30849 h 51323"/>
                <a:gd name="connsiteX990" fmla="*/ 47613 w 51323"/>
                <a:gd name="connsiteY990" fmla="*/ 26452 h 51323"/>
                <a:gd name="connsiteX991" fmla="*/ 47613 w 51323"/>
                <a:gd name="connsiteY991" fmla="*/ 26160 h 51323"/>
                <a:gd name="connsiteX992" fmla="*/ 47528 w 51323"/>
                <a:gd name="connsiteY992" fmla="*/ 26160 h 51323"/>
                <a:gd name="connsiteX993" fmla="*/ 47098 w 51323"/>
                <a:gd name="connsiteY993" fmla="*/ 26606 h 51323"/>
                <a:gd name="connsiteX994" fmla="*/ 46995 w 51323"/>
                <a:gd name="connsiteY994" fmla="*/ 26383 h 51323"/>
                <a:gd name="connsiteX995" fmla="*/ 46995 w 51323"/>
                <a:gd name="connsiteY995" fmla="*/ 26383 h 51323"/>
                <a:gd name="connsiteX996" fmla="*/ 46995 w 51323"/>
                <a:gd name="connsiteY996" fmla="*/ 26383 h 51323"/>
                <a:gd name="connsiteX997" fmla="*/ 47081 w 51323"/>
                <a:gd name="connsiteY997" fmla="*/ 26040 h 51323"/>
                <a:gd name="connsiteX998" fmla="*/ 46806 w 51323"/>
                <a:gd name="connsiteY998" fmla="*/ 25833 h 51323"/>
                <a:gd name="connsiteX999" fmla="*/ 46686 w 51323"/>
                <a:gd name="connsiteY999" fmla="*/ 25971 h 51323"/>
                <a:gd name="connsiteX1000" fmla="*/ 46549 w 51323"/>
                <a:gd name="connsiteY1000" fmla="*/ 25971 h 51323"/>
                <a:gd name="connsiteX1001" fmla="*/ 46428 w 51323"/>
                <a:gd name="connsiteY1001" fmla="*/ 25559 h 51323"/>
                <a:gd name="connsiteX1002" fmla="*/ 46119 w 51323"/>
                <a:gd name="connsiteY1002" fmla="*/ 25438 h 51323"/>
                <a:gd name="connsiteX1003" fmla="*/ 45913 w 51323"/>
                <a:gd name="connsiteY1003" fmla="*/ 25610 h 51323"/>
                <a:gd name="connsiteX1004" fmla="*/ 45741 w 51323"/>
                <a:gd name="connsiteY1004" fmla="*/ 25610 h 51323"/>
                <a:gd name="connsiteX1005" fmla="*/ 45552 w 51323"/>
                <a:gd name="connsiteY1005" fmla="*/ 25765 h 51323"/>
                <a:gd name="connsiteX1006" fmla="*/ 45432 w 51323"/>
                <a:gd name="connsiteY1006" fmla="*/ 25765 h 51323"/>
                <a:gd name="connsiteX1007" fmla="*/ 45209 w 51323"/>
                <a:gd name="connsiteY1007" fmla="*/ 25679 h 51323"/>
                <a:gd name="connsiteX1008" fmla="*/ 44728 w 51323"/>
                <a:gd name="connsiteY1008" fmla="*/ 25679 h 51323"/>
                <a:gd name="connsiteX1009" fmla="*/ 44453 w 51323"/>
                <a:gd name="connsiteY1009" fmla="*/ 25679 h 51323"/>
                <a:gd name="connsiteX1010" fmla="*/ 43663 w 51323"/>
                <a:gd name="connsiteY1010" fmla="*/ 25404 h 51323"/>
                <a:gd name="connsiteX1011" fmla="*/ 43285 w 51323"/>
                <a:gd name="connsiteY1011" fmla="*/ 25146 h 51323"/>
                <a:gd name="connsiteX1012" fmla="*/ 42804 w 51323"/>
                <a:gd name="connsiteY1012" fmla="*/ 24803 h 51323"/>
                <a:gd name="connsiteX1013" fmla="*/ 42804 w 51323"/>
                <a:gd name="connsiteY1013" fmla="*/ 24803 h 51323"/>
                <a:gd name="connsiteX1014" fmla="*/ 42375 w 51323"/>
                <a:gd name="connsiteY1014" fmla="*/ 24425 h 51323"/>
                <a:gd name="connsiteX1015" fmla="*/ 42272 w 51323"/>
                <a:gd name="connsiteY1015" fmla="*/ 24270 h 51323"/>
                <a:gd name="connsiteX1016" fmla="*/ 42272 w 51323"/>
                <a:gd name="connsiteY1016" fmla="*/ 24270 h 51323"/>
                <a:gd name="connsiteX1017" fmla="*/ 42272 w 51323"/>
                <a:gd name="connsiteY1017" fmla="*/ 24270 h 51323"/>
                <a:gd name="connsiteX1018" fmla="*/ 42100 w 51323"/>
                <a:gd name="connsiteY1018" fmla="*/ 24597 h 51323"/>
                <a:gd name="connsiteX1019" fmla="*/ 42220 w 51323"/>
                <a:gd name="connsiteY1019" fmla="*/ 24597 h 51323"/>
                <a:gd name="connsiteX1020" fmla="*/ 42220 w 51323"/>
                <a:gd name="connsiteY1020" fmla="*/ 24597 h 51323"/>
                <a:gd name="connsiteX1021" fmla="*/ 42220 w 51323"/>
                <a:gd name="connsiteY1021" fmla="*/ 24734 h 51323"/>
                <a:gd name="connsiteX1022" fmla="*/ 42220 w 51323"/>
                <a:gd name="connsiteY1022" fmla="*/ 24734 h 51323"/>
                <a:gd name="connsiteX1023" fmla="*/ 42512 w 51323"/>
                <a:gd name="connsiteY1023" fmla="*/ 25112 h 51323"/>
                <a:gd name="connsiteX1024" fmla="*/ 42770 w 51323"/>
                <a:gd name="connsiteY1024" fmla="*/ 25610 h 51323"/>
                <a:gd name="connsiteX1025" fmla="*/ 42770 w 51323"/>
                <a:gd name="connsiteY1025" fmla="*/ 25610 h 51323"/>
                <a:gd name="connsiteX1026" fmla="*/ 43045 w 51323"/>
                <a:gd name="connsiteY1026" fmla="*/ 25782 h 51323"/>
                <a:gd name="connsiteX1027" fmla="*/ 43165 w 51323"/>
                <a:gd name="connsiteY1027" fmla="*/ 25627 h 51323"/>
                <a:gd name="connsiteX1028" fmla="*/ 43165 w 51323"/>
                <a:gd name="connsiteY1028" fmla="*/ 26108 h 51323"/>
                <a:gd name="connsiteX1029" fmla="*/ 43165 w 51323"/>
                <a:gd name="connsiteY1029" fmla="*/ 26211 h 51323"/>
                <a:gd name="connsiteX1030" fmla="*/ 43165 w 51323"/>
                <a:gd name="connsiteY1030" fmla="*/ 26366 h 51323"/>
                <a:gd name="connsiteX1031" fmla="*/ 43766 w 51323"/>
                <a:gd name="connsiteY1031" fmla="*/ 26091 h 51323"/>
                <a:gd name="connsiteX1032" fmla="*/ 43766 w 51323"/>
                <a:gd name="connsiteY1032" fmla="*/ 26091 h 51323"/>
                <a:gd name="connsiteX1033" fmla="*/ 44058 w 51323"/>
                <a:gd name="connsiteY1033" fmla="*/ 25318 h 51323"/>
                <a:gd name="connsiteX1034" fmla="*/ 44058 w 51323"/>
                <a:gd name="connsiteY1034" fmla="*/ 25318 h 51323"/>
                <a:gd name="connsiteX1035" fmla="*/ 44058 w 51323"/>
                <a:gd name="connsiteY1035" fmla="*/ 25215 h 51323"/>
                <a:gd name="connsiteX1036" fmla="*/ 44058 w 51323"/>
                <a:gd name="connsiteY1036" fmla="*/ 25507 h 51323"/>
                <a:gd name="connsiteX1037" fmla="*/ 44642 w 51323"/>
                <a:gd name="connsiteY1037" fmla="*/ 26091 h 51323"/>
                <a:gd name="connsiteX1038" fmla="*/ 44642 w 51323"/>
                <a:gd name="connsiteY1038" fmla="*/ 27311 h 51323"/>
                <a:gd name="connsiteX1039" fmla="*/ 44642 w 51323"/>
                <a:gd name="connsiteY1039" fmla="*/ 27877 h 51323"/>
                <a:gd name="connsiteX1040" fmla="*/ 44109 w 51323"/>
                <a:gd name="connsiteY1040" fmla="*/ 28376 h 51323"/>
                <a:gd name="connsiteX1041" fmla="*/ 44109 w 51323"/>
                <a:gd name="connsiteY1041" fmla="*/ 28719 h 51323"/>
                <a:gd name="connsiteX1042" fmla="*/ 43457 w 51323"/>
                <a:gd name="connsiteY1042" fmla="*/ 29114 h 51323"/>
                <a:gd name="connsiteX1043" fmla="*/ 42684 w 51323"/>
                <a:gd name="connsiteY1043" fmla="*/ 29767 h 51323"/>
                <a:gd name="connsiteX1044" fmla="*/ 42357 w 51323"/>
                <a:gd name="connsiteY1044" fmla="*/ 29990 h 51323"/>
                <a:gd name="connsiteX1045" fmla="*/ 41791 w 51323"/>
                <a:gd name="connsiteY1045" fmla="*/ 30248 h 51323"/>
                <a:gd name="connsiteX1046" fmla="*/ 41172 w 51323"/>
                <a:gd name="connsiteY1046" fmla="*/ 30626 h 51323"/>
                <a:gd name="connsiteX1047" fmla="*/ 40897 w 51323"/>
                <a:gd name="connsiteY1047" fmla="*/ 29629 h 51323"/>
                <a:gd name="connsiteX1048" fmla="*/ 39850 w 51323"/>
                <a:gd name="connsiteY1048" fmla="*/ 27706 h 51323"/>
                <a:gd name="connsiteX1049" fmla="*/ 39283 w 51323"/>
                <a:gd name="connsiteY1049" fmla="*/ 26606 h 51323"/>
                <a:gd name="connsiteX1050" fmla="*/ 38338 w 51323"/>
                <a:gd name="connsiteY1050" fmla="*/ 24751 h 51323"/>
                <a:gd name="connsiteX1051" fmla="*/ 38201 w 51323"/>
                <a:gd name="connsiteY1051" fmla="*/ 25438 h 51323"/>
                <a:gd name="connsiteX1052" fmla="*/ 37548 w 51323"/>
                <a:gd name="connsiteY1052" fmla="*/ 24717 h 51323"/>
                <a:gd name="connsiteX1053" fmla="*/ 38682 w 51323"/>
                <a:gd name="connsiteY1053" fmla="*/ 26692 h 51323"/>
                <a:gd name="connsiteX1054" fmla="*/ 38682 w 51323"/>
                <a:gd name="connsiteY1054" fmla="*/ 26692 h 51323"/>
                <a:gd name="connsiteX1055" fmla="*/ 38819 w 51323"/>
                <a:gd name="connsiteY1055" fmla="*/ 26830 h 51323"/>
                <a:gd name="connsiteX1056" fmla="*/ 38699 w 51323"/>
                <a:gd name="connsiteY1056" fmla="*/ 26830 h 51323"/>
                <a:gd name="connsiteX1057" fmla="*/ 39317 w 51323"/>
                <a:gd name="connsiteY1057" fmla="*/ 27826 h 51323"/>
                <a:gd name="connsiteX1058" fmla="*/ 39317 w 51323"/>
                <a:gd name="connsiteY1058" fmla="*/ 28376 h 51323"/>
                <a:gd name="connsiteX1059" fmla="*/ 39712 w 51323"/>
                <a:gd name="connsiteY1059" fmla="*/ 28891 h 51323"/>
                <a:gd name="connsiteX1060" fmla="*/ 40021 w 51323"/>
                <a:gd name="connsiteY1060" fmla="*/ 29715 h 51323"/>
                <a:gd name="connsiteX1061" fmla="*/ 40021 w 51323"/>
                <a:gd name="connsiteY1061" fmla="*/ 29801 h 51323"/>
                <a:gd name="connsiteX1062" fmla="*/ 40193 w 51323"/>
                <a:gd name="connsiteY1062" fmla="*/ 29939 h 51323"/>
                <a:gd name="connsiteX1063" fmla="*/ 40932 w 51323"/>
                <a:gd name="connsiteY1063" fmla="*/ 30626 h 51323"/>
                <a:gd name="connsiteX1064" fmla="*/ 41035 w 51323"/>
                <a:gd name="connsiteY1064" fmla="*/ 30746 h 51323"/>
                <a:gd name="connsiteX1065" fmla="*/ 40794 w 51323"/>
                <a:gd name="connsiteY1065" fmla="*/ 31038 h 51323"/>
                <a:gd name="connsiteX1066" fmla="*/ 41327 w 51323"/>
                <a:gd name="connsiteY1066" fmla="*/ 31450 h 51323"/>
                <a:gd name="connsiteX1067" fmla="*/ 42770 w 51323"/>
                <a:gd name="connsiteY1067" fmla="*/ 30901 h 51323"/>
                <a:gd name="connsiteX1068" fmla="*/ 42993 w 51323"/>
                <a:gd name="connsiteY1068" fmla="*/ 30660 h 51323"/>
                <a:gd name="connsiteX1069" fmla="*/ 42993 w 51323"/>
                <a:gd name="connsiteY1069" fmla="*/ 31210 h 51323"/>
                <a:gd name="connsiteX1070" fmla="*/ 42993 w 51323"/>
                <a:gd name="connsiteY1070" fmla="*/ 31210 h 51323"/>
                <a:gd name="connsiteX1071" fmla="*/ 38922 w 51323"/>
                <a:gd name="connsiteY1071" fmla="*/ 37033 h 51323"/>
                <a:gd name="connsiteX1072" fmla="*/ 38802 w 51323"/>
                <a:gd name="connsiteY1072" fmla="*/ 37307 h 51323"/>
                <a:gd name="connsiteX1073" fmla="*/ 38802 w 51323"/>
                <a:gd name="connsiteY1073" fmla="*/ 38012 h 51323"/>
                <a:gd name="connsiteX1074" fmla="*/ 38355 w 51323"/>
                <a:gd name="connsiteY1074" fmla="*/ 39248 h 51323"/>
                <a:gd name="connsiteX1075" fmla="*/ 38355 w 51323"/>
                <a:gd name="connsiteY1075" fmla="*/ 39351 h 51323"/>
                <a:gd name="connsiteX1076" fmla="*/ 37119 w 51323"/>
                <a:gd name="connsiteY1076" fmla="*/ 40193 h 51323"/>
                <a:gd name="connsiteX1077" fmla="*/ 37119 w 51323"/>
                <a:gd name="connsiteY1077" fmla="*/ 40193 h 51323"/>
                <a:gd name="connsiteX1078" fmla="*/ 36311 w 51323"/>
                <a:gd name="connsiteY1078" fmla="*/ 40691 h 51323"/>
                <a:gd name="connsiteX1079" fmla="*/ 36311 w 51323"/>
                <a:gd name="connsiteY1079" fmla="*/ 40880 h 51323"/>
                <a:gd name="connsiteX1080" fmla="*/ 36311 w 51323"/>
                <a:gd name="connsiteY1080" fmla="*/ 41035 h 51323"/>
                <a:gd name="connsiteX1081" fmla="*/ 36311 w 51323"/>
                <a:gd name="connsiteY1081" fmla="*/ 41395 h 51323"/>
                <a:gd name="connsiteX1082" fmla="*/ 36311 w 51323"/>
                <a:gd name="connsiteY1082" fmla="*/ 41292 h 51323"/>
                <a:gd name="connsiteX1083" fmla="*/ 36311 w 51323"/>
                <a:gd name="connsiteY1083" fmla="*/ 41292 h 51323"/>
                <a:gd name="connsiteX1084" fmla="*/ 36311 w 51323"/>
                <a:gd name="connsiteY1084" fmla="*/ 41292 h 51323"/>
                <a:gd name="connsiteX1085" fmla="*/ 36054 w 51323"/>
                <a:gd name="connsiteY1085" fmla="*/ 41705 h 51323"/>
                <a:gd name="connsiteX1086" fmla="*/ 36054 w 51323"/>
                <a:gd name="connsiteY1086" fmla="*/ 41705 h 51323"/>
                <a:gd name="connsiteX1087" fmla="*/ 35006 w 51323"/>
                <a:gd name="connsiteY1087" fmla="*/ 42392 h 51323"/>
                <a:gd name="connsiteX1088" fmla="*/ 35126 w 51323"/>
                <a:gd name="connsiteY1088" fmla="*/ 42392 h 51323"/>
                <a:gd name="connsiteX1089" fmla="*/ 34954 w 51323"/>
                <a:gd name="connsiteY1089" fmla="*/ 42598 h 51323"/>
                <a:gd name="connsiteX1090" fmla="*/ 34954 w 51323"/>
                <a:gd name="connsiteY1090" fmla="*/ 42598 h 51323"/>
                <a:gd name="connsiteX1091" fmla="*/ 32051 w 51323"/>
                <a:gd name="connsiteY1091" fmla="*/ 44315 h 51323"/>
                <a:gd name="connsiteX1092" fmla="*/ 30660 w 51323"/>
                <a:gd name="connsiteY1092" fmla="*/ 44418 h 51323"/>
                <a:gd name="connsiteX1093" fmla="*/ 30660 w 51323"/>
                <a:gd name="connsiteY1093" fmla="*/ 44418 h 51323"/>
                <a:gd name="connsiteX1094" fmla="*/ 30660 w 51323"/>
                <a:gd name="connsiteY1094" fmla="*/ 44418 h 51323"/>
                <a:gd name="connsiteX1095" fmla="*/ 30660 w 51323"/>
                <a:gd name="connsiteY1095" fmla="*/ 44092 h 51323"/>
                <a:gd name="connsiteX1096" fmla="*/ 30660 w 51323"/>
                <a:gd name="connsiteY1096" fmla="*/ 43199 h 51323"/>
                <a:gd name="connsiteX1097" fmla="*/ 29836 w 51323"/>
                <a:gd name="connsiteY1097" fmla="*/ 40296 h 51323"/>
                <a:gd name="connsiteX1098" fmla="*/ 30591 w 51323"/>
                <a:gd name="connsiteY1098" fmla="*/ 38046 h 51323"/>
                <a:gd name="connsiteX1099" fmla="*/ 30471 w 51323"/>
                <a:gd name="connsiteY1099" fmla="*/ 37204 h 51323"/>
                <a:gd name="connsiteX1100" fmla="*/ 30574 w 51323"/>
                <a:gd name="connsiteY1100" fmla="*/ 37204 h 51323"/>
                <a:gd name="connsiteX1101" fmla="*/ 30454 w 51323"/>
                <a:gd name="connsiteY1101" fmla="*/ 37050 h 51323"/>
                <a:gd name="connsiteX1102" fmla="*/ 29423 w 51323"/>
                <a:gd name="connsiteY1102" fmla="*/ 35607 h 51323"/>
                <a:gd name="connsiteX1103" fmla="*/ 29630 w 51323"/>
                <a:gd name="connsiteY1103" fmla="*/ 35298 h 51323"/>
                <a:gd name="connsiteX1104" fmla="*/ 29819 w 51323"/>
                <a:gd name="connsiteY1104" fmla="*/ 35298 h 51323"/>
                <a:gd name="connsiteX1105" fmla="*/ 29647 w 51323"/>
                <a:gd name="connsiteY1105" fmla="*/ 35177 h 51323"/>
                <a:gd name="connsiteX1106" fmla="*/ 29647 w 51323"/>
                <a:gd name="connsiteY1106" fmla="*/ 35040 h 51323"/>
                <a:gd name="connsiteX1107" fmla="*/ 29836 w 51323"/>
                <a:gd name="connsiteY1107" fmla="*/ 34095 h 51323"/>
                <a:gd name="connsiteX1108" fmla="*/ 29612 w 51323"/>
                <a:gd name="connsiteY1108" fmla="*/ 33906 h 51323"/>
                <a:gd name="connsiteX1109" fmla="*/ 29423 w 51323"/>
                <a:gd name="connsiteY1109" fmla="*/ 33906 h 51323"/>
                <a:gd name="connsiteX1110" fmla="*/ 28496 w 51323"/>
                <a:gd name="connsiteY1110" fmla="*/ 34044 h 51323"/>
                <a:gd name="connsiteX1111" fmla="*/ 25937 w 51323"/>
                <a:gd name="connsiteY1111" fmla="*/ 33821 h 51323"/>
                <a:gd name="connsiteX1112" fmla="*/ 22501 w 51323"/>
                <a:gd name="connsiteY1112" fmla="*/ 32687 h 51323"/>
                <a:gd name="connsiteX1113" fmla="*/ 22226 w 51323"/>
                <a:gd name="connsiteY1113" fmla="*/ 32361 h 51323"/>
                <a:gd name="connsiteX1114" fmla="*/ 22226 w 51323"/>
                <a:gd name="connsiteY1114" fmla="*/ 32137 h 51323"/>
                <a:gd name="connsiteX1115" fmla="*/ 21986 w 51323"/>
                <a:gd name="connsiteY1115" fmla="*/ 31828 h 51323"/>
                <a:gd name="connsiteX1116" fmla="*/ 21591 w 51323"/>
                <a:gd name="connsiteY1116" fmla="*/ 31536 h 51323"/>
                <a:gd name="connsiteX1117" fmla="*/ 21436 w 51323"/>
                <a:gd name="connsiteY1117" fmla="*/ 31450 h 51323"/>
                <a:gd name="connsiteX1118" fmla="*/ 21436 w 51323"/>
                <a:gd name="connsiteY1118" fmla="*/ 31450 h 51323"/>
                <a:gd name="connsiteX1119" fmla="*/ 21436 w 51323"/>
                <a:gd name="connsiteY1119" fmla="*/ 31450 h 51323"/>
                <a:gd name="connsiteX1120" fmla="*/ 21436 w 51323"/>
                <a:gd name="connsiteY1120" fmla="*/ 31347 h 51323"/>
                <a:gd name="connsiteX1121" fmla="*/ 21642 w 51323"/>
                <a:gd name="connsiteY1121" fmla="*/ 31347 h 51323"/>
                <a:gd name="connsiteX1122" fmla="*/ 21247 w 51323"/>
                <a:gd name="connsiteY1122" fmla="*/ 31158 h 51323"/>
                <a:gd name="connsiteX1123" fmla="*/ 21041 w 51323"/>
                <a:gd name="connsiteY1123" fmla="*/ 30986 h 51323"/>
                <a:gd name="connsiteX1124" fmla="*/ 21213 w 51323"/>
                <a:gd name="connsiteY1124" fmla="*/ 30986 h 51323"/>
                <a:gd name="connsiteX1125" fmla="*/ 21024 w 51323"/>
                <a:gd name="connsiteY1125" fmla="*/ 30986 h 51323"/>
                <a:gd name="connsiteX1126" fmla="*/ 21024 w 51323"/>
                <a:gd name="connsiteY1126" fmla="*/ 30780 h 51323"/>
                <a:gd name="connsiteX1127" fmla="*/ 21299 w 51323"/>
                <a:gd name="connsiteY1127" fmla="*/ 30780 h 51323"/>
                <a:gd name="connsiteX1128" fmla="*/ 21144 w 51323"/>
                <a:gd name="connsiteY1128" fmla="*/ 30626 h 51323"/>
                <a:gd name="connsiteX1129" fmla="*/ 21144 w 51323"/>
                <a:gd name="connsiteY1129" fmla="*/ 30626 h 51323"/>
                <a:gd name="connsiteX1130" fmla="*/ 20921 w 51323"/>
                <a:gd name="connsiteY1130" fmla="*/ 30299 h 51323"/>
                <a:gd name="connsiteX1131" fmla="*/ 21333 w 51323"/>
                <a:gd name="connsiteY1131" fmla="*/ 28582 h 51323"/>
                <a:gd name="connsiteX1132" fmla="*/ 21436 w 51323"/>
                <a:gd name="connsiteY1132" fmla="*/ 28358 h 51323"/>
                <a:gd name="connsiteX1133" fmla="*/ 21247 w 51323"/>
                <a:gd name="connsiteY1133" fmla="*/ 28135 h 51323"/>
                <a:gd name="connsiteX1134" fmla="*/ 21247 w 51323"/>
                <a:gd name="connsiteY1134" fmla="*/ 28221 h 51323"/>
                <a:gd name="connsiteX1135" fmla="*/ 21591 w 51323"/>
                <a:gd name="connsiteY1135" fmla="*/ 27465 h 51323"/>
                <a:gd name="connsiteX1136" fmla="*/ 23927 w 51323"/>
                <a:gd name="connsiteY1136" fmla="*/ 25043 h 51323"/>
                <a:gd name="connsiteX1137" fmla="*/ 23927 w 51323"/>
                <a:gd name="connsiteY1137" fmla="*/ 24562 h 51323"/>
                <a:gd name="connsiteX1138" fmla="*/ 24133 w 51323"/>
                <a:gd name="connsiteY1138" fmla="*/ 24081 h 51323"/>
                <a:gd name="connsiteX1139" fmla="*/ 25473 w 51323"/>
                <a:gd name="connsiteY1139" fmla="*/ 22896 h 51323"/>
                <a:gd name="connsiteX1140" fmla="*/ 26194 w 51323"/>
                <a:gd name="connsiteY1140" fmla="*/ 23102 h 51323"/>
                <a:gd name="connsiteX1141" fmla="*/ 27586 w 51323"/>
                <a:gd name="connsiteY1141" fmla="*/ 22725 h 51323"/>
                <a:gd name="connsiteX1142" fmla="*/ 29063 w 51323"/>
                <a:gd name="connsiteY1142" fmla="*/ 22587 h 51323"/>
                <a:gd name="connsiteX1143" fmla="*/ 29372 w 51323"/>
                <a:gd name="connsiteY1143" fmla="*/ 22587 h 51323"/>
                <a:gd name="connsiteX1144" fmla="*/ 30162 w 51323"/>
                <a:gd name="connsiteY1144" fmla="*/ 22587 h 51323"/>
                <a:gd name="connsiteX1145" fmla="*/ 30385 w 51323"/>
                <a:gd name="connsiteY1145" fmla="*/ 22776 h 51323"/>
                <a:gd name="connsiteX1146" fmla="*/ 30385 w 51323"/>
                <a:gd name="connsiteY1146" fmla="*/ 23017 h 51323"/>
                <a:gd name="connsiteX1147" fmla="*/ 30385 w 51323"/>
                <a:gd name="connsiteY1147" fmla="*/ 23910 h 51323"/>
                <a:gd name="connsiteX1148" fmla="*/ 30506 w 51323"/>
                <a:gd name="connsiteY1148" fmla="*/ 23910 h 51323"/>
                <a:gd name="connsiteX1149" fmla="*/ 30506 w 51323"/>
                <a:gd name="connsiteY1149" fmla="*/ 23910 h 51323"/>
                <a:gd name="connsiteX1150" fmla="*/ 31622 w 51323"/>
                <a:gd name="connsiteY1150" fmla="*/ 24236 h 51323"/>
                <a:gd name="connsiteX1151" fmla="*/ 34473 w 51323"/>
                <a:gd name="connsiteY1151" fmla="*/ 24236 h 51323"/>
                <a:gd name="connsiteX1152" fmla="*/ 36191 w 51323"/>
                <a:gd name="connsiteY1152" fmla="*/ 24700 h 51323"/>
                <a:gd name="connsiteX1153" fmla="*/ 37084 w 51323"/>
                <a:gd name="connsiteY1153" fmla="*/ 24494 h 51323"/>
                <a:gd name="connsiteX1154" fmla="*/ 37187 w 51323"/>
                <a:gd name="connsiteY1154" fmla="*/ 24494 h 51323"/>
                <a:gd name="connsiteX1155" fmla="*/ 37187 w 51323"/>
                <a:gd name="connsiteY1155" fmla="*/ 24494 h 51323"/>
                <a:gd name="connsiteX1156" fmla="*/ 37462 w 51323"/>
                <a:gd name="connsiteY1156" fmla="*/ 24494 h 51323"/>
                <a:gd name="connsiteX1157" fmla="*/ 37565 w 51323"/>
                <a:gd name="connsiteY1157" fmla="*/ 24665 h 51323"/>
                <a:gd name="connsiteX1158" fmla="*/ 37565 w 51323"/>
                <a:gd name="connsiteY1158" fmla="*/ 24494 h 51323"/>
                <a:gd name="connsiteX1159" fmla="*/ 38407 w 51323"/>
                <a:gd name="connsiteY1159" fmla="*/ 22381 h 51323"/>
                <a:gd name="connsiteX1160" fmla="*/ 37840 w 51323"/>
                <a:gd name="connsiteY1160" fmla="*/ 22656 h 51323"/>
                <a:gd name="connsiteX1161" fmla="*/ 36775 w 51323"/>
                <a:gd name="connsiteY1161" fmla="*/ 22656 h 51323"/>
                <a:gd name="connsiteX1162" fmla="*/ 36277 w 51323"/>
                <a:gd name="connsiteY1162" fmla="*/ 22536 h 51323"/>
                <a:gd name="connsiteX1163" fmla="*/ 36140 w 51323"/>
                <a:gd name="connsiteY1163" fmla="*/ 22536 h 51323"/>
                <a:gd name="connsiteX1164" fmla="*/ 35933 w 51323"/>
                <a:gd name="connsiteY1164" fmla="*/ 22536 h 51323"/>
                <a:gd name="connsiteX1165" fmla="*/ 35727 w 51323"/>
                <a:gd name="connsiteY1165" fmla="*/ 22536 h 51323"/>
                <a:gd name="connsiteX1166" fmla="*/ 35951 w 51323"/>
                <a:gd name="connsiteY1166" fmla="*/ 22398 h 51323"/>
                <a:gd name="connsiteX1167" fmla="*/ 35762 w 51323"/>
                <a:gd name="connsiteY1167" fmla="*/ 22398 h 51323"/>
                <a:gd name="connsiteX1168" fmla="*/ 35401 w 51323"/>
                <a:gd name="connsiteY1168" fmla="*/ 22020 h 51323"/>
                <a:gd name="connsiteX1169" fmla="*/ 35401 w 51323"/>
                <a:gd name="connsiteY1169" fmla="*/ 21831 h 51323"/>
                <a:gd name="connsiteX1170" fmla="*/ 35573 w 51323"/>
                <a:gd name="connsiteY1170" fmla="*/ 21831 h 51323"/>
                <a:gd name="connsiteX1171" fmla="*/ 35573 w 51323"/>
                <a:gd name="connsiteY1171" fmla="*/ 21831 h 51323"/>
                <a:gd name="connsiteX1172" fmla="*/ 35676 w 51323"/>
                <a:gd name="connsiteY1172" fmla="*/ 21694 h 51323"/>
                <a:gd name="connsiteX1173" fmla="*/ 35676 w 51323"/>
                <a:gd name="connsiteY1173" fmla="*/ 21488 h 51323"/>
                <a:gd name="connsiteX1174" fmla="*/ 35779 w 51323"/>
                <a:gd name="connsiteY1174" fmla="*/ 21179 h 51323"/>
                <a:gd name="connsiteX1175" fmla="*/ 36225 w 51323"/>
                <a:gd name="connsiteY1175" fmla="*/ 21179 h 51323"/>
                <a:gd name="connsiteX1176" fmla="*/ 36397 w 51323"/>
                <a:gd name="connsiteY1176" fmla="*/ 20990 h 51323"/>
                <a:gd name="connsiteX1177" fmla="*/ 36827 w 51323"/>
                <a:gd name="connsiteY1177" fmla="*/ 20784 h 51323"/>
                <a:gd name="connsiteX1178" fmla="*/ 37788 w 51323"/>
                <a:gd name="connsiteY1178" fmla="*/ 20371 h 51323"/>
                <a:gd name="connsiteX1179" fmla="*/ 38063 w 51323"/>
                <a:gd name="connsiteY1179" fmla="*/ 20371 h 51323"/>
                <a:gd name="connsiteX1180" fmla="*/ 38287 w 51323"/>
                <a:gd name="connsiteY1180" fmla="*/ 20526 h 51323"/>
                <a:gd name="connsiteX1181" fmla="*/ 37857 w 51323"/>
                <a:gd name="connsiteY1181" fmla="*/ 19049 h 51323"/>
                <a:gd name="connsiteX1182" fmla="*/ 37857 w 51323"/>
                <a:gd name="connsiteY1182" fmla="*/ 18911 h 51323"/>
                <a:gd name="connsiteX1183" fmla="*/ 37977 w 51323"/>
                <a:gd name="connsiteY1183" fmla="*/ 18791 h 51323"/>
                <a:gd name="connsiteX1184" fmla="*/ 37977 w 51323"/>
                <a:gd name="connsiteY1184" fmla="*/ 18551 h 51323"/>
                <a:gd name="connsiteX1185" fmla="*/ 37857 w 51323"/>
                <a:gd name="connsiteY1185" fmla="*/ 18448 h 51323"/>
                <a:gd name="connsiteX1186" fmla="*/ 38029 w 51323"/>
                <a:gd name="connsiteY1186" fmla="*/ 18448 h 51323"/>
                <a:gd name="connsiteX1187" fmla="*/ 38132 w 51323"/>
                <a:gd name="connsiteY1187" fmla="*/ 18224 h 51323"/>
                <a:gd name="connsiteX1188" fmla="*/ 37548 w 51323"/>
                <a:gd name="connsiteY1188" fmla="*/ 18499 h 51323"/>
                <a:gd name="connsiteX1189" fmla="*/ 37359 w 51323"/>
                <a:gd name="connsiteY1189" fmla="*/ 18499 h 51323"/>
                <a:gd name="connsiteX1190" fmla="*/ 37204 w 51323"/>
                <a:gd name="connsiteY1190" fmla="*/ 18499 h 51323"/>
                <a:gd name="connsiteX1191" fmla="*/ 37204 w 51323"/>
                <a:gd name="connsiteY1191" fmla="*/ 18705 h 51323"/>
                <a:gd name="connsiteX1192" fmla="*/ 37204 w 51323"/>
                <a:gd name="connsiteY1192" fmla="*/ 18568 h 51323"/>
                <a:gd name="connsiteX1193" fmla="*/ 36878 w 51323"/>
                <a:gd name="connsiteY1193" fmla="*/ 18791 h 51323"/>
                <a:gd name="connsiteX1194" fmla="*/ 37136 w 51323"/>
                <a:gd name="connsiteY1194" fmla="*/ 18946 h 51323"/>
                <a:gd name="connsiteX1195" fmla="*/ 37136 w 51323"/>
                <a:gd name="connsiteY1195" fmla="*/ 18946 h 51323"/>
                <a:gd name="connsiteX1196" fmla="*/ 37325 w 51323"/>
                <a:gd name="connsiteY1196" fmla="*/ 19049 h 51323"/>
                <a:gd name="connsiteX1197" fmla="*/ 37084 w 51323"/>
                <a:gd name="connsiteY1197" fmla="*/ 18705 h 51323"/>
                <a:gd name="connsiteX1198" fmla="*/ 37393 w 51323"/>
                <a:gd name="connsiteY1198" fmla="*/ 19014 h 51323"/>
                <a:gd name="connsiteX1199" fmla="*/ 37514 w 51323"/>
                <a:gd name="connsiteY1199" fmla="*/ 19014 h 51323"/>
                <a:gd name="connsiteX1200" fmla="*/ 37685 w 51323"/>
                <a:gd name="connsiteY1200" fmla="*/ 18929 h 51323"/>
                <a:gd name="connsiteX1201" fmla="*/ 37462 w 51323"/>
                <a:gd name="connsiteY1201" fmla="*/ 19100 h 51323"/>
                <a:gd name="connsiteX1202" fmla="*/ 36912 w 51323"/>
                <a:gd name="connsiteY1202" fmla="*/ 19100 h 51323"/>
                <a:gd name="connsiteX1203" fmla="*/ 36758 w 51323"/>
                <a:gd name="connsiteY1203" fmla="*/ 18860 h 51323"/>
                <a:gd name="connsiteX1204" fmla="*/ 36500 w 51323"/>
                <a:gd name="connsiteY1204" fmla="*/ 18740 h 51323"/>
                <a:gd name="connsiteX1205" fmla="*/ 36380 w 51323"/>
                <a:gd name="connsiteY1205" fmla="*/ 18619 h 51323"/>
                <a:gd name="connsiteX1206" fmla="*/ 36157 w 51323"/>
                <a:gd name="connsiteY1206" fmla="*/ 18619 h 51323"/>
                <a:gd name="connsiteX1207" fmla="*/ 36449 w 51323"/>
                <a:gd name="connsiteY1207" fmla="*/ 18619 h 51323"/>
                <a:gd name="connsiteX1208" fmla="*/ 36260 w 51323"/>
                <a:gd name="connsiteY1208" fmla="*/ 18619 h 51323"/>
                <a:gd name="connsiteX1209" fmla="*/ 36088 w 51323"/>
                <a:gd name="connsiteY1209" fmla="*/ 18740 h 51323"/>
                <a:gd name="connsiteX1210" fmla="*/ 35916 w 51323"/>
                <a:gd name="connsiteY1210" fmla="*/ 18946 h 51323"/>
                <a:gd name="connsiteX1211" fmla="*/ 35796 w 51323"/>
                <a:gd name="connsiteY1211" fmla="*/ 19083 h 51323"/>
                <a:gd name="connsiteX1212" fmla="*/ 35607 w 51323"/>
                <a:gd name="connsiteY1212" fmla="*/ 19598 h 51323"/>
                <a:gd name="connsiteX1213" fmla="*/ 35607 w 51323"/>
                <a:gd name="connsiteY1213" fmla="*/ 19993 h 51323"/>
                <a:gd name="connsiteX1214" fmla="*/ 35470 w 51323"/>
                <a:gd name="connsiteY1214" fmla="*/ 20251 h 51323"/>
                <a:gd name="connsiteX1215" fmla="*/ 35607 w 51323"/>
                <a:gd name="connsiteY1215" fmla="*/ 20698 h 51323"/>
                <a:gd name="connsiteX1216" fmla="*/ 35899 w 51323"/>
                <a:gd name="connsiteY1216" fmla="*/ 20990 h 51323"/>
                <a:gd name="connsiteX1217" fmla="*/ 35212 w 51323"/>
                <a:gd name="connsiteY1217" fmla="*/ 21333 h 51323"/>
                <a:gd name="connsiteX1218" fmla="*/ 35315 w 51323"/>
                <a:gd name="connsiteY1218" fmla="*/ 21144 h 51323"/>
                <a:gd name="connsiteX1219" fmla="*/ 34731 w 51323"/>
                <a:gd name="connsiteY1219" fmla="*/ 21144 h 51323"/>
                <a:gd name="connsiteX1220" fmla="*/ 34491 w 51323"/>
                <a:gd name="connsiteY1220" fmla="*/ 21230 h 51323"/>
                <a:gd name="connsiteX1221" fmla="*/ 34611 w 51323"/>
                <a:gd name="connsiteY1221" fmla="*/ 21385 h 51323"/>
                <a:gd name="connsiteX1222" fmla="*/ 34439 w 51323"/>
                <a:gd name="connsiteY1222" fmla="*/ 21385 h 51323"/>
                <a:gd name="connsiteX1223" fmla="*/ 34439 w 51323"/>
                <a:gd name="connsiteY1223" fmla="*/ 21471 h 51323"/>
                <a:gd name="connsiteX1224" fmla="*/ 34439 w 51323"/>
                <a:gd name="connsiteY1224" fmla="*/ 21471 h 51323"/>
                <a:gd name="connsiteX1225" fmla="*/ 34164 w 51323"/>
                <a:gd name="connsiteY1225" fmla="*/ 21282 h 51323"/>
                <a:gd name="connsiteX1226" fmla="*/ 34164 w 51323"/>
                <a:gd name="connsiteY1226" fmla="*/ 21522 h 51323"/>
                <a:gd name="connsiteX1227" fmla="*/ 34164 w 51323"/>
                <a:gd name="connsiteY1227" fmla="*/ 21728 h 51323"/>
                <a:gd name="connsiteX1228" fmla="*/ 34164 w 51323"/>
                <a:gd name="connsiteY1228" fmla="*/ 21728 h 51323"/>
                <a:gd name="connsiteX1229" fmla="*/ 34164 w 51323"/>
                <a:gd name="connsiteY1229" fmla="*/ 21831 h 51323"/>
                <a:gd name="connsiteX1230" fmla="*/ 34662 w 51323"/>
                <a:gd name="connsiteY1230" fmla="*/ 22295 h 51323"/>
                <a:gd name="connsiteX1231" fmla="*/ 34336 w 51323"/>
                <a:gd name="connsiteY1231" fmla="*/ 22295 h 51323"/>
                <a:gd name="connsiteX1232" fmla="*/ 34456 w 51323"/>
                <a:gd name="connsiteY1232" fmla="*/ 22467 h 51323"/>
                <a:gd name="connsiteX1233" fmla="*/ 34456 w 51323"/>
                <a:gd name="connsiteY1233" fmla="*/ 22467 h 51323"/>
                <a:gd name="connsiteX1234" fmla="*/ 34456 w 51323"/>
                <a:gd name="connsiteY1234" fmla="*/ 22776 h 51323"/>
                <a:gd name="connsiteX1235" fmla="*/ 34250 w 51323"/>
                <a:gd name="connsiteY1235" fmla="*/ 22776 h 51323"/>
                <a:gd name="connsiteX1236" fmla="*/ 34078 w 51323"/>
                <a:gd name="connsiteY1236" fmla="*/ 22518 h 51323"/>
                <a:gd name="connsiteX1237" fmla="*/ 34078 w 51323"/>
                <a:gd name="connsiteY1237" fmla="*/ 22656 h 51323"/>
                <a:gd name="connsiteX1238" fmla="*/ 33975 w 51323"/>
                <a:gd name="connsiteY1238" fmla="*/ 22398 h 51323"/>
                <a:gd name="connsiteX1239" fmla="*/ 33855 w 51323"/>
                <a:gd name="connsiteY1239" fmla="*/ 22089 h 51323"/>
                <a:gd name="connsiteX1240" fmla="*/ 34353 w 51323"/>
                <a:gd name="connsiteY1240" fmla="*/ 22089 h 51323"/>
                <a:gd name="connsiteX1241" fmla="*/ 33958 w 51323"/>
                <a:gd name="connsiteY1241" fmla="*/ 22089 h 51323"/>
                <a:gd name="connsiteX1242" fmla="*/ 33786 w 51323"/>
                <a:gd name="connsiteY1242" fmla="*/ 22089 h 51323"/>
                <a:gd name="connsiteX1243" fmla="*/ 33065 w 51323"/>
                <a:gd name="connsiteY1243" fmla="*/ 21316 h 51323"/>
                <a:gd name="connsiteX1244" fmla="*/ 33065 w 51323"/>
                <a:gd name="connsiteY1244" fmla="*/ 20732 h 51323"/>
                <a:gd name="connsiteX1245" fmla="*/ 32584 w 51323"/>
                <a:gd name="connsiteY1245" fmla="*/ 20320 h 51323"/>
                <a:gd name="connsiteX1246" fmla="*/ 32275 w 51323"/>
                <a:gd name="connsiteY1246" fmla="*/ 20320 h 51323"/>
                <a:gd name="connsiteX1247" fmla="*/ 32395 w 51323"/>
                <a:gd name="connsiteY1247" fmla="*/ 20320 h 51323"/>
                <a:gd name="connsiteX1248" fmla="*/ 31931 w 51323"/>
                <a:gd name="connsiteY1248" fmla="*/ 20131 h 51323"/>
                <a:gd name="connsiteX1249" fmla="*/ 31742 w 51323"/>
                <a:gd name="connsiteY1249" fmla="*/ 19856 h 51323"/>
                <a:gd name="connsiteX1250" fmla="*/ 31175 w 51323"/>
                <a:gd name="connsiteY1250" fmla="*/ 19633 h 51323"/>
                <a:gd name="connsiteX1251" fmla="*/ 31175 w 51323"/>
                <a:gd name="connsiteY1251" fmla="*/ 19306 h 51323"/>
                <a:gd name="connsiteX1252" fmla="*/ 30746 w 51323"/>
                <a:gd name="connsiteY1252" fmla="*/ 19427 h 51323"/>
                <a:gd name="connsiteX1253" fmla="*/ 31656 w 51323"/>
                <a:gd name="connsiteY1253" fmla="*/ 20681 h 51323"/>
                <a:gd name="connsiteX1254" fmla="*/ 31983 w 51323"/>
                <a:gd name="connsiteY1254" fmla="*/ 20887 h 51323"/>
                <a:gd name="connsiteX1255" fmla="*/ 32807 w 51323"/>
                <a:gd name="connsiteY1255" fmla="*/ 21539 h 51323"/>
                <a:gd name="connsiteX1256" fmla="*/ 32532 w 51323"/>
                <a:gd name="connsiteY1256" fmla="*/ 21333 h 51323"/>
                <a:gd name="connsiteX1257" fmla="*/ 32309 w 51323"/>
                <a:gd name="connsiteY1257" fmla="*/ 21625 h 51323"/>
                <a:gd name="connsiteX1258" fmla="*/ 32309 w 51323"/>
                <a:gd name="connsiteY1258" fmla="*/ 22141 h 51323"/>
                <a:gd name="connsiteX1259" fmla="*/ 32086 w 51323"/>
                <a:gd name="connsiteY1259" fmla="*/ 22141 h 51323"/>
                <a:gd name="connsiteX1260" fmla="*/ 31794 w 51323"/>
                <a:gd name="connsiteY1260" fmla="*/ 21402 h 51323"/>
                <a:gd name="connsiteX1261" fmla="*/ 31656 w 51323"/>
                <a:gd name="connsiteY1261" fmla="*/ 21230 h 51323"/>
                <a:gd name="connsiteX1262" fmla="*/ 31330 w 51323"/>
                <a:gd name="connsiteY1262" fmla="*/ 21024 h 51323"/>
                <a:gd name="connsiteX1263" fmla="*/ 29080 w 51323"/>
                <a:gd name="connsiteY1263" fmla="*/ 20217 h 51323"/>
                <a:gd name="connsiteX1264" fmla="*/ 28633 w 51323"/>
                <a:gd name="connsiteY1264" fmla="*/ 20114 h 51323"/>
                <a:gd name="connsiteX1265" fmla="*/ 27448 w 51323"/>
                <a:gd name="connsiteY1265" fmla="*/ 21093 h 51323"/>
                <a:gd name="connsiteX1266" fmla="*/ 27448 w 51323"/>
                <a:gd name="connsiteY1266" fmla="*/ 21213 h 51323"/>
                <a:gd name="connsiteX1267" fmla="*/ 27191 w 51323"/>
                <a:gd name="connsiteY1267" fmla="*/ 22003 h 51323"/>
                <a:gd name="connsiteX1268" fmla="*/ 26847 w 51323"/>
                <a:gd name="connsiteY1268" fmla="*/ 22398 h 51323"/>
                <a:gd name="connsiteX1269" fmla="*/ 25421 w 51323"/>
                <a:gd name="connsiteY1269" fmla="*/ 22896 h 51323"/>
                <a:gd name="connsiteX1270" fmla="*/ 24700 w 51323"/>
                <a:gd name="connsiteY1270" fmla="*/ 22501 h 51323"/>
                <a:gd name="connsiteX1271" fmla="*/ 24408 w 51323"/>
                <a:gd name="connsiteY1271" fmla="*/ 22501 h 51323"/>
                <a:gd name="connsiteX1272" fmla="*/ 24511 w 51323"/>
                <a:gd name="connsiteY1272" fmla="*/ 21934 h 51323"/>
                <a:gd name="connsiteX1273" fmla="*/ 24511 w 51323"/>
                <a:gd name="connsiteY1273" fmla="*/ 21763 h 51323"/>
                <a:gd name="connsiteX1274" fmla="*/ 24631 w 51323"/>
                <a:gd name="connsiteY1274" fmla="*/ 21144 h 51323"/>
                <a:gd name="connsiteX1275" fmla="*/ 24734 w 51323"/>
                <a:gd name="connsiteY1275" fmla="*/ 20457 h 51323"/>
                <a:gd name="connsiteX1276" fmla="*/ 24734 w 51323"/>
                <a:gd name="connsiteY1276" fmla="*/ 20457 h 51323"/>
                <a:gd name="connsiteX1277" fmla="*/ 24734 w 51323"/>
                <a:gd name="connsiteY1277" fmla="*/ 20337 h 51323"/>
                <a:gd name="connsiteX1278" fmla="*/ 24734 w 51323"/>
                <a:gd name="connsiteY1278" fmla="*/ 20234 h 51323"/>
                <a:gd name="connsiteX1279" fmla="*/ 25026 w 51323"/>
                <a:gd name="connsiteY1279" fmla="*/ 20045 h 51323"/>
                <a:gd name="connsiteX1280" fmla="*/ 25490 w 51323"/>
                <a:gd name="connsiteY1280" fmla="*/ 20045 h 51323"/>
                <a:gd name="connsiteX1281" fmla="*/ 26607 w 51323"/>
                <a:gd name="connsiteY1281" fmla="*/ 20131 h 51323"/>
                <a:gd name="connsiteX1282" fmla="*/ 27276 w 51323"/>
                <a:gd name="connsiteY1282" fmla="*/ 19564 h 51323"/>
                <a:gd name="connsiteX1283" fmla="*/ 27053 w 51323"/>
                <a:gd name="connsiteY1283" fmla="*/ 19289 h 51323"/>
                <a:gd name="connsiteX1284" fmla="*/ 26813 w 51323"/>
                <a:gd name="connsiteY1284" fmla="*/ 18860 h 51323"/>
                <a:gd name="connsiteX1285" fmla="*/ 26950 w 51323"/>
                <a:gd name="connsiteY1285" fmla="*/ 18722 h 51323"/>
                <a:gd name="connsiteX1286" fmla="*/ 26727 w 51323"/>
                <a:gd name="connsiteY1286" fmla="*/ 18551 h 51323"/>
                <a:gd name="connsiteX1287" fmla="*/ 26229 w 51323"/>
                <a:gd name="connsiteY1287" fmla="*/ 18465 h 51323"/>
                <a:gd name="connsiteX1288" fmla="*/ 26229 w 51323"/>
                <a:gd name="connsiteY1288" fmla="*/ 18345 h 51323"/>
                <a:gd name="connsiteX1289" fmla="*/ 26229 w 51323"/>
                <a:gd name="connsiteY1289" fmla="*/ 18345 h 51323"/>
                <a:gd name="connsiteX1290" fmla="*/ 26229 w 51323"/>
                <a:gd name="connsiteY1290" fmla="*/ 18345 h 51323"/>
                <a:gd name="connsiteX1291" fmla="*/ 26555 w 51323"/>
                <a:gd name="connsiteY1291" fmla="*/ 18121 h 51323"/>
                <a:gd name="connsiteX1292" fmla="*/ 27019 w 51323"/>
                <a:gd name="connsiteY1292" fmla="*/ 18241 h 51323"/>
                <a:gd name="connsiteX1293" fmla="*/ 26899 w 51323"/>
                <a:gd name="connsiteY1293" fmla="*/ 17812 h 51323"/>
                <a:gd name="connsiteX1294" fmla="*/ 27105 w 51323"/>
                <a:gd name="connsiteY1294" fmla="*/ 17812 h 51323"/>
                <a:gd name="connsiteX1295" fmla="*/ 27500 w 51323"/>
                <a:gd name="connsiteY1295" fmla="*/ 17812 h 51323"/>
                <a:gd name="connsiteX1296" fmla="*/ 27775 w 51323"/>
                <a:gd name="connsiteY1296" fmla="*/ 17606 h 51323"/>
                <a:gd name="connsiteX1297" fmla="*/ 27895 w 51323"/>
                <a:gd name="connsiteY1297" fmla="*/ 17280 h 51323"/>
                <a:gd name="connsiteX1298" fmla="*/ 28444 w 51323"/>
                <a:gd name="connsiteY1298" fmla="*/ 17125 h 51323"/>
                <a:gd name="connsiteX1299" fmla="*/ 28444 w 51323"/>
                <a:gd name="connsiteY1299" fmla="*/ 17125 h 51323"/>
                <a:gd name="connsiteX1300" fmla="*/ 28547 w 51323"/>
                <a:gd name="connsiteY1300" fmla="*/ 17022 h 51323"/>
                <a:gd name="connsiteX1301" fmla="*/ 29286 w 51323"/>
                <a:gd name="connsiteY1301" fmla="*/ 16438 h 51323"/>
                <a:gd name="connsiteX1302" fmla="*/ 29458 w 51323"/>
                <a:gd name="connsiteY1302" fmla="*/ 16438 h 51323"/>
                <a:gd name="connsiteX1303" fmla="*/ 29595 w 51323"/>
                <a:gd name="connsiteY1303" fmla="*/ 16438 h 51323"/>
                <a:gd name="connsiteX1304" fmla="*/ 29956 w 51323"/>
                <a:gd name="connsiteY1304" fmla="*/ 16301 h 51323"/>
                <a:gd name="connsiteX1305" fmla="*/ 29389 w 51323"/>
                <a:gd name="connsiteY1305" fmla="*/ 15115 h 51323"/>
                <a:gd name="connsiteX1306" fmla="*/ 29664 w 51323"/>
                <a:gd name="connsiteY1306" fmla="*/ 15115 h 51323"/>
                <a:gd name="connsiteX1307" fmla="*/ 30025 w 51323"/>
                <a:gd name="connsiteY1307" fmla="*/ 15115 h 51323"/>
                <a:gd name="connsiteX1308" fmla="*/ 29922 w 51323"/>
                <a:gd name="connsiteY1308" fmla="*/ 16009 h 51323"/>
                <a:gd name="connsiteX1309" fmla="*/ 30059 w 51323"/>
                <a:gd name="connsiteY1309" fmla="*/ 16094 h 51323"/>
                <a:gd name="connsiteX1310" fmla="*/ 30883 w 51323"/>
                <a:gd name="connsiteY1310" fmla="*/ 16094 h 51323"/>
                <a:gd name="connsiteX1311" fmla="*/ 32103 w 51323"/>
                <a:gd name="connsiteY1311" fmla="*/ 15768 h 51323"/>
                <a:gd name="connsiteX1312" fmla="*/ 32326 w 51323"/>
                <a:gd name="connsiteY1312" fmla="*/ 15768 h 51323"/>
                <a:gd name="connsiteX1313" fmla="*/ 32189 w 51323"/>
                <a:gd name="connsiteY1313" fmla="*/ 15905 h 51323"/>
                <a:gd name="connsiteX1314" fmla="*/ 32704 w 51323"/>
                <a:gd name="connsiteY1314" fmla="*/ 14497 h 51323"/>
                <a:gd name="connsiteX1315" fmla="*/ 33031 w 51323"/>
                <a:gd name="connsiteY1315" fmla="*/ 14222 h 51323"/>
                <a:gd name="connsiteX1316" fmla="*/ 32842 w 51323"/>
                <a:gd name="connsiteY1316" fmla="*/ 14068 h 51323"/>
                <a:gd name="connsiteX1317" fmla="*/ 32842 w 51323"/>
                <a:gd name="connsiteY1317" fmla="*/ 13690 h 51323"/>
                <a:gd name="connsiteX1318" fmla="*/ 32979 w 51323"/>
                <a:gd name="connsiteY1318" fmla="*/ 13690 h 51323"/>
                <a:gd name="connsiteX1319" fmla="*/ 33615 w 51323"/>
                <a:gd name="connsiteY1319" fmla="*/ 13793 h 51323"/>
                <a:gd name="connsiteX1320" fmla="*/ 33752 w 51323"/>
                <a:gd name="connsiteY1320" fmla="*/ 13466 h 51323"/>
                <a:gd name="connsiteX1321" fmla="*/ 33546 w 51323"/>
                <a:gd name="connsiteY1321" fmla="*/ 13192 h 51323"/>
                <a:gd name="connsiteX1322" fmla="*/ 33408 w 51323"/>
                <a:gd name="connsiteY1322" fmla="*/ 13192 h 51323"/>
                <a:gd name="connsiteX1323" fmla="*/ 33031 w 51323"/>
                <a:gd name="connsiteY1323" fmla="*/ 13312 h 51323"/>
                <a:gd name="connsiteX1324" fmla="*/ 33031 w 51323"/>
                <a:gd name="connsiteY1324" fmla="*/ 13312 h 51323"/>
                <a:gd name="connsiteX1325" fmla="*/ 33031 w 51323"/>
                <a:gd name="connsiteY1325" fmla="*/ 13312 h 51323"/>
                <a:gd name="connsiteX1326" fmla="*/ 32567 w 51323"/>
                <a:gd name="connsiteY1326" fmla="*/ 13621 h 51323"/>
                <a:gd name="connsiteX1327" fmla="*/ 32172 w 51323"/>
                <a:gd name="connsiteY1327" fmla="*/ 13260 h 51323"/>
                <a:gd name="connsiteX1328" fmla="*/ 31914 w 51323"/>
                <a:gd name="connsiteY1328" fmla="*/ 12058 h 51323"/>
                <a:gd name="connsiteX1329" fmla="*/ 32017 w 51323"/>
                <a:gd name="connsiteY1329" fmla="*/ 12058 h 51323"/>
                <a:gd name="connsiteX1330" fmla="*/ 32017 w 51323"/>
                <a:gd name="connsiteY1330" fmla="*/ 11817 h 51323"/>
                <a:gd name="connsiteX1331" fmla="*/ 32309 w 51323"/>
                <a:gd name="connsiteY1331" fmla="*/ 11457 h 51323"/>
                <a:gd name="connsiteX1332" fmla="*/ 31502 w 51323"/>
                <a:gd name="connsiteY1332" fmla="*/ 11182 h 51323"/>
                <a:gd name="connsiteX1333" fmla="*/ 31656 w 51323"/>
                <a:gd name="connsiteY1333" fmla="*/ 11714 h 51323"/>
                <a:gd name="connsiteX1334" fmla="*/ 31038 w 51323"/>
                <a:gd name="connsiteY1334" fmla="*/ 12590 h 51323"/>
                <a:gd name="connsiteX1335" fmla="*/ 31175 w 51323"/>
                <a:gd name="connsiteY1335" fmla="*/ 12968 h 51323"/>
                <a:gd name="connsiteX1336" fmla="*/ 31382 w 51323"/>
                <a:gd name="connsiteY1336" fmla="*/ 13793 h 51323"/>
                <a:gd name="connsiteX1337" fmla="*/ 31210 w 51323"/>
                <a:gd name="connsiteY1337" fmla="*/ 13913 h 51323"/>
                <a:gd name="connsiteX1338" fmla="*/ 31485 w 51323"/>
                <a:gd name="connsiteY1338" fmla="*/ 14050 h 51323"/>
                <a:gd name="connsiteX1339" fmla="*/ 31364 w 51323"/>
                <a:gd name="connsiteY1339" fmla="*/ 14188 h 51323"/>
                <a:gd name="connsiteX1340" fmla="*/ 31364 w 51323"/>
                <a:gd name="connsiteY1340" fmla="*/ 14342 h 51323"/>
                <a:gd name="connsiteX1341" fmla="*/ 31364 w 51323"/>
                <a:gd name="connsiteY1341" fmla="*/ 14514 h 51323"/>
                <a:gd name="connsiteX1342" fmla="*/ 31090 w 51323"/>
                <a:gd name="connsiteY1342" fmla="*/ 15236 h 51323"/>
                <a:gd name="connsiteX1343" fmla="*/ 30162 w 51323"/>
                <a:gd name="connsiteY1343" fmla="*/ 14050 h 51323"/>
                <a:gd name="connsiteX1344" fmla="*/ 29939 w 51323"/>
                <a:gd name="connsiteY1344" fmla="*/ 13810 h 51323"/>
                <a:gd name="connsiteX1345" fmla="*/ 29939 w 51323"/>
                <a:gd name="connsiteY1345" fmla="*/ 14102 h 51323"/>
                <a:gd name="connsiteX1346" fmla="*/ 29733 w 51323"/>
                <a:gd name="connsiteY1346" fmla="*/ 13965 h 51323"/>
                <a:gd name="connsiteX1347" fmla="*/ 29595 w 51323"/>
                <a:gd name="connsiteY1347" fmla="*/ 14291 h 51323"/>
                <a:gd name="connsiteX1348" fmla="*/ 29183 w 51323"/>
                <a:gd name="connsiteY1348" fmla="*/ 14428 h 51323"/>
                <a:gd name="connsiteX1349" fmla="*/ 29183 w 51323"/>
                <a:gd name="connsiteY1349" fmla="*/ 14102 h 51323"/>
                <a:gd name="connsiteX1350" fmla="*/ 29011 w 51323"/>
                <a:gd name="connsiteY1350" fmla="*/ 13879 h 51323"/>
                <a:gd name="connsiteX1351" fmla="*/ 29011 w 51323"/>
                <a:gd name="connsiteY1351" fmla="*/ 13879 h 51323"/>
                <a:gd name="connsiteX1352" fmla="*/ 29166 w 51323"/>
                <a:gd name="connsiteY1352" fmla="*/ 13776 h 51323"/>
                <a:gd name="connsiteX1353" fmla="*/ 29166 w 51323"/>
                <a:gd name="connsiteY1353" fmla="*/ 13655 h 51323"/>
                <a:gd name="connsiteX1354" fmla="*/ 29164 w 51323"/>
                <a:gd name="connsiteY1354" fmla="*/ 13485 h 51323"/>
                <a:gd name="connsiteX1355" fmla="*/ 29166 w 51323"/>
                <a:gd name="connsiteY1355" fmla="*/ 13484 h 51323"/>
                <a:gd name="connsiteX1356" fmla="*/ 28943 w 51323"/>
                <a:gd name="connsiteY1356" fmla="*/ 13484 h 51323"/>
                <a:gd name="connsiteX1357" fmla="*/ 28943 w 51323"/>
                <a:gd name="connsiteY1357" fmla="*/ 13381 h 51323"/>
                <a:gd name="connsiteX1358" fmla="*/ 29355 w 51323"/>
                <a:gd name="connsiteY1358" fmla="*/ 13157 h 51323"/>
                <a:gd name="connsiteX1359" fmla="*/ 28994 w 51323"/>
                <a:gd name="connsiteY1359" fmla="*/ 13157 h 51323"/>
                <a:gd name="connsiteX1360" fmla="*/ 29183 w 51323"/>
                <a:gd name="connsiteY1360" fmla="*/ 13020 h 51323"/>
                <a:gd name="connsiteX1361" fmla="*/ 29046 w 51323"/>
                <a:gd name="connsiteY1361" fmla="*/ 12917 h 51323"/>
                <a:gd name="connsiteX1362" fmla="*/ 29183 w 51323"/>
                <a:gd name="connsiteY1362" fmla="*/ 12917 h 51323"/>
                <a:gd name="connsiteX1363" fmla="*/ 29183 w 51323"/>
                <a:gd name="connsiteY1363" fmla="*/ 12797 h 51323"/>
                <a:gd name="connsiteX1364" fmla="*/ 29441 w 51323"/>
                <a:gd name="connsiteY1364" fmla="*/ 12797 h 51323"/>
                <a:gd name="connsiteX1365" fmla="*/ 29578 w 51323"/>
                <a:gd name="connsiteY1365" fmla="*/ 12797 h 51323"/>
                <a:gd name="connsiteX1366" fmla="*/ 29578 w 51323"/>
                <a:gd name="connsiteY1366" fmla="*/ 12676 h 51323"/>
                <a:gd name="connsiteX1367" fmla="*/ 29767 w 51323"/>
                <a:gd name="connsiteY1367" fmla="*/ 12676 h 51323"/>
                <a:gd name="connsiteX1368" fmla="*/ 30059 w 51323"/>
                <a:gd name="connsiteY1368" fmla="*/ 12298 h 51323"/>
                <a:gd name="connsiteX1369" fmla="*/ 29801 w 51323"/>
                <a:gd name="connsiteY1369" fmla="*/ 12419 h 51323"/>
                <a:gd name="connsiteX1370" fmla="*/ 29801 w 51323"/>
                <a:gd name="connsiteY1370" fmla="*/ 12195 h 51323"/>
                <a:gd name="connsiteX1371" fmla="*/ 30145 w 51323"/>
                <a:gd name="connsiteY1371" fmla="*/ 11766 h 51323"/>
                <a:gd name="connsiteX1372" fmla="*/ 30145 w 51323"/>
                <a:gd name="connsiteY1372" fmla="*/ 11611 h 51323"/>
                <a:gd name="connsiteX1373" fmla="*/ 30145 w 51323"/>
                <a:gd name="connsiteY1373" fmla="*/ 11525 h 51323"/>
                <a:gd name="connsiteX1374" fmla="*/ 30145 w 51323"/>
                <a:gd name="connsiteY1374" fmla="*/ 11337 h 51323"/>
                <a:gd name="connsiteX1375" fmla="*/ 30025 w 51323"/>
                <a:gd name="connsiteY1375" fmla="*/ 11148 h 51323"/>
                <a:gd name="connsiteX1376" fmla="*/ 30334 w 51323"/>
                <a:gd name="connsiteY1376" fmla="*/ 10976 h 51323"/>
                <a:gd name="connsiteX1377" fmla="*/ 30334 w 51323"/>
                <a:gd name="connsiteY1377" fmla="*/ 10838 h 51323"/>
                <a:gd name="connsiteX1378" fmla="*/ 30334 w 51323"/>
                <a:gd name="connsiteY1378" fmla="*/ 10684 h 51323"/>
                <a:gd name="connsiteX1379" fmla="*/ 30334 w 51323"/>
                <a:gd name="connsiteY1379" fmla="*/ 10478 h 51323"/>
                <a:gd name="connsiteX1380" fmla="*/ 30506 w 51323"/>
                <a:gd name="connsiteY1380" fmla="*/ 10478 h 51323"/>
                <a:gd name="connsiteX1381" fmla="*/ 30506 w 51323"/>
                <a:gd name="connsiteY1381" fmla="*/ 10323 h 51323"/>
                <a:gd name="connsiteX1382" fmla="*/ 30506 w 51323"/>
                <a:gd name="connsiteY1382" fmla="*/ 10220 h 51323"/>
                <a:gd name="connsiteX1383" fmla="*/ 30609 w 51323"/>
                <a:gd name="connsiteY1383" fmla="*/ 10117 h 51323"/>
                <a:gd name="connsiteX1384" fmla="*/ 30609 w 51323"/>
                <a:gd name="connsiteY1384" fmla="*/ 10117 h 51323"/>
                <a:gd name="connsiteX1385" fmla="*/ 30609 w 51323"/>
                <a:gd name="connsiteY1385" fmla="*/ 10117 h 51323"/>
                <a:gd name="connsiteX1386" fmla="*/ 30609 w 51323"/>
                <a:gd name="connsiteY1386" fmla="*/ 10117 h 51323"/>
                <a:gd name="connsiteX1387" fmla="*/ 30798 w 51323"/>
                <a:gd name="connsiteY1387" fmla="*/ 10117 h 51323"/>
                <a:gd name="connsiteX1388" fmla="*/ 30798 w 51323"/>
                <a:gd name="connsiteY1388" fmla="*/ 9739 h 51323"/>
                <a:gd name="connsiteX1389" fmla="*/ 31124 w 51323"/>
                <a:gd name="connsiteY1389" fmla="*/ 9894 h 51323"/>
                <a:gd name="connsiteX1390" fmla="*/ 31124 w 51323"/>
                <a:gd name="connsiteY1390" fmla="*/ 9619 h 51323"/>
                <a:gd name="connsiteX1391" fmla="*/ 31124 w 51323"/>
                <a:gd name="connsiteY1391" fmla="*/ 9619 h 51323"/>
                <a:gd name="connsiteX1392" fmla="*/ 31124 w 51323"/>
                <a:gd name="connsiteY1392" fmla="*/ 9619 h 51323"/>
                <a:gd name="connsiteX1393" fmla="*/ 31261 w 51323"/>
                <a:gd name="connsiteY1393" fmla="*/ 9619 h 51323"/>
                <a:gd name="connsiteX1394" fmla="*/ 31450 w 51323"/>
                <a:gd name="connsiteY1394" fmla="*/ 9499 h 51323"/>
                <a:gd name="connsiteX1395" fmla="*/ 31553 w 51323"/>
                <a:gd name="connsiteY1395" fmla="*/ 9842 h 51323"/>
                <a:gd name="connsiteX1396" fmla="*/ 31674 w 51323"/>
                <a:gd name="connsiteY1396" fmla="*/ 9842 h 51323"/>
                <a:gd name="connsiteX1397" fmla="*/ 31845 w 51323"/>
                <a:gd name="connsiteY1397" fmla="*/ 9842 h 51323"/>
                <a:gd name="connsiteX1398" fmla="*/ 31742 w 51323"/>
                <a:gd name="connsiteY1398" fmla="*/ 10031 h 51323"/>
                <a:gd name="connsiteX1399" fmla="*/ 32000 w 51323"/>
                <a:gd name="connsiteY1399" fmla="*/ 10220 h 51323"/>
                <a:gd name="connsiteX1400" fmla="*/ 32275 w 51323"/>
                <a:gd name="connsiteY1400" fmla="*/ 10220 h 51323"/>
                <a:gd name="connsiteX1401" fmla="*/ 32275 w 51323"/>
                <a:gd name="connsiteY1401" fmla="*/ 10048 h 51323"/>
                <a:gd name="connsiteX1402" fmla="*/ 32378 w 51323"/>
                <a:gd name="connsiteY1402" fmla="*/ 10048 h 51323"/>
                <a:gd name="connsiteX1403" fmla="*/ 32584 w 51323"/>
                <a:gd name="connsiteY1403" fmla="*/ 10220 h 51323"/>
                <a:gd name="connsiteX1404" fmla="*/ 33683 w 51323"/>
                <a:gd name="connsiteY1404" fmla="*/ 10529 h 51323"/>
                <a:gd name="connsiteX1405" fmla="*/ 33804 w 51323"/>
                <a:gd name="connsiteY1405" fmla="*/ 10529 h 51323"/>
                <a:gd name="connsiteX1406" fmla="*/ 33597 w 51323"/>
                <a:gd name="connsiteY1406" fmla="*/ 11354 h 51323"/>
                <a:gd name="connsiteX1407" fmla="*/ 33426 w 51323"/>
                <a:gd name="connsiteY1407" fmla="*/ 11354 h 51323"/>
                <a:gd name="connsiteX1408" fmla="*/ 33065 w 51323"/>
                <a:gd name="connsiteY1408" fmla="*/ 11354 h 51323"/>
                <a:gd name="connsiteX1409" fmla="*/ 33357 w 51323"/>
                <a:gd name="connsiteY1409" fmla="*/ 11663 h 51323"/>
                <a:gd name="connsiteX1410" fmla="*/ 34576 w 51323"/>
                <a:gd name="connsiteY1410" fmla="*/ 12333 h 51323"/>
                <a:gd name="connsiteX1411" fmla="*/ 34250 w 51323"/>
                <a:gd name="connsiteY1411" fmla="*/ 12006 h 51323"/>
                <a:gd name="connsiteX1412" fmla="*/ 34972 w 51323"/>
                <a:gd name="connsiteY1412" fmla="*/ 11474 h 51323"/>
                <a:gd name="connsiteX1413" fmla="*/ 35143 w 51323"/>
                <a:gd name="connsiteY1413" fmla="*/ 11474 h 51323"/>
                <a:gd name="connsiteX1414" fmla="*/ 34181 w 51323"/>
                <a:gd name="connsiteY1414" fmla="*/ 10340 h 51323"/>
                <a:gd name="connsiteX1415" fmla="*/ 34800 w 51323"/>
                <a:gd name="connsiteY1415" fmla="*/ 10753 h 51323"/>
                <a:gd name="connsiteX1416" fmla="*/ 35143 w 51323"/>
                <a:gd name="connsiteY1416" fmla="*/ 10529 h 51323"/>
                <a:gd name="connsiteX1417" fmla="*/ 35401 w 51323"/>
                <a:gd name="connsiteY1417" fmla="*/ 10289 h 51323"/>
                <a:gd name="connsiteX1418" fmla="*/ 35401 w 51323"/>
                <a:gd name="connsiteY1418" fmla="*/ 10151 h 51323"/>
                <a:gd name="connsiteX1419" fmla="*/ 35727 w 51323"/>
                <a:gd name="connsiteY1419" fmla="*/ 10306 h 51323"/>
                <a:gd name="connsiteX1420" fmla="*/ 35727 w 51323"/>
                <a:gd name="connsiteY1420" fmla="*/ 10306 h 51323"/>
                <a:gd name="connsiteX1421" fmla="*/ 35830 w 51323"/>
                <a:gd name="connsiteY1421" fmla="*/ 9842 h 51323"/>
                <a:gd name="connsiteX1422" fmla="*/ 36019 w 51323"/>
                <a:gd name="connsiteY1422" fmla="*/ 9945 h 51323"/>
                <a:gd name="connsiteX1423" fmla="*/ 36122 w 51323"/>
                <a:gd name="connsiteY1423" fmla="*/ 9945 h 51323"/>
                <a:gd name="connsiteX1424" fmla="*/ 35848 w 51323"/>
                <a:gd name="connsiteY1424" fmla="*/ 9773 h 51323"/>
                <a:gd name="connsiteX1425" fmla="*/ 35848 w 51323"/>
                <a:gd name="connsiteY1425" fmla="*/ 9773 h 51323"/>
                <a:gd name="connsiteX1426" fmla="*/ 36981 w 51323"/>
                <a:gd name="connsiteY1426" fmla="*/ 9894 h 51323"/>
                <a:gd name="connsiteX1427" fmla="*/ 36260 w 51323"/>
                <a:gd name="connsiteY1427" fmla="*/ 9361 h 51323"/>
                <a:gd name="connsiteX1428" fmla="*/ 36260 w 51323"/>
                <a:gd name="connsiteY1428" fmla="*/ 9361 h 51323"/>
                <a:gd name="connsiteX1429" fmla="*/ 36140 w 51323"/>
                <a:gd name="connsiteY1429" fmla="*/ 9361 h 51323"/>
                <a:gd name="connsiteX1430" fmla="*/ 36140 w 51323"/>
                <a:gd name="connsiteY1430" fmla="*/ 9361 h 51323"/>
                <a:gd name="connsiteX1431" fmla="*/ 35882 w 51323"/>
                <a:gd name="connsiteY1431" fmla="*/ 9155 h 51323"/>
                <a:gd name="connsiteX1432" fmla="*/ 35727 w 51323"/>
                <a:gd name="connsiteY1432" fmla="*/ 8983 h 51323"/>
                <a:gd name="connsiteX1433" fmla="*/ 34594 w 51323"/>
                <a:gd name="connsiteY1433" fmla="*/ 7884 h 51323"/>
                <a:gd name="connsiteX1434" fmla="*/ 37136 w 51323"/>
                <a:gd name="connsiteY1434" fmla="*/ 9602 h 51323"/>
                <a:gd name="connsiteX1435" fmla="*/ 37136 w 51323"/>
                <a:gd name="connsiteY1435" fmla="*/ 9602 h 51323"/>
                <a:gd name="connsiteX1436" fmla="*/ 37806 w 51323"/>
                <a:gd name="connsiteY1436" fmla="*/ 10289 h 51323"/>
                <a:gd name="connsiteX1437" fmla="*/ 37806 w 51323"/>
                <a:gd name="connsiteY1437" fmla="*/ 10289 h 51323"/>
                <a:gd name="connsiteX1438" fmla="*/ 37806 w 51323"/>
                <a:gd name="connsiteY1438" fmla="*/ 10289 h 51323"/>
                <a:gd name="connsiteX1439" fmla="*/ 37703 w 51323"/>
                <a:gd name="connsiteY1439" fmla="*/ 10426 h 51323"/>
                <a:gd name="connsiteX1440" fmla="*/ 37101 w 51323"/>
                <a:gd name="connsiteY1440" fmla="*/ 9275 h 51323"/>
                <a:gd name="connsiteX1441" fmla="*/ 37101 w 51323"/>
                <a:gd name="connsiteY1441" fmla="*/ 9275 h 51323"/>
                <a:gd name="connsiteX1442" fmla="*/ 34851 w 51323"/>
                <a:gd name="connsiteY1442" fmla="*/ 7850 h 51323"/>
                <a:gd name="connsiteX1443" fmla="*/ 35933 w 51323"/>
                <a:gd name="connsiteY1443" fmla="*/ 8451 h 51323"/>
                <a:gd name="connsiteX1444" fmla="*/ 36105 w 51323"/>
                <a:gd name="connsiteY1444" fmla="*/ 8451 h 51323"/>
                <a:gd name="connsiteX1445" fmla="*/ 35367 w 51323"/>
                <a:gd name="connsiteY1445" fmla="*/ 8125 h 51323"/>
                <a:gd name="connsiteX1446" fmla="*/ 35367 w 51323"/>
                <a:gd name="connsiteY1446" fmla="*/ 8039 h 51323"/>
                <a:gd name="connsiteX1447" fmla="*/ 35367 w 51323"/>
                <a:gd name="connsiteY1447" fmla="*/ 8039 h 51323"/>
                <a:gd name="connsiteX1448" fmla="*/ 36363 w 51323"/>
                <a:gd name="connsiteY1448" fmla="*/ 8331 h 51323"/>
                <a:gd name="connsiteX1449" fmla="*/ 37256 w 51323"/>
                <a:gd name="connsiteY1449" fmla="*/ 8812 h 51323"/>
                <a:gd name="connsiteX1450" fmla="*/ 37428 w 51323"/>
                <a:gd name="connsiteY1450" fmla="*/ 8812 h 51323"/>
                <a:gd name="connsiteX1451" fmla="*/ 37101 w 51323"/>
                <a:gd name="connsiteY1451" fmla="*/ 8709 h 51323"/>
                <a:gd name="connsiteX1452" fmla="*/ 35384 w 51323"/>
                <a:gd name="connsiteY1452" fmla="*/ 7798 h 51323"/>
                <a:gd name="connsiteX1453" fmla="*/ 34525 w 51323"/>
                <a:gd name="connsiteY1453" fmla="*/ 7231 h 51323"/>
                <a:gd name="connsiteX1454" fmla="*/ 34851 w 51323"/>
                <a:gd name="connsiteY1454" fmla="*/ 7317 h 51323"/>
                <a:gd name="connsiteX1455" fmla="*/ 34267 w 51323"/>
                <a:gd name="connsiteY1455" fmla="*/ 7008 h 51323"/>
                <a:gd name="connsiteX1456" fmla="*/ 34027 w 51323"/>
                <a:gd name="connsiteY1456" fmla="*/ 6922 h 51323"/>
                <a:gd name="connsiteX1457" fmla="*/ 34027 w 51323"/>
                <a:gd name="connsiteY1457" fmla="*/ 6922 h 51323"/>
                <a:gd name="connsiteX1458" fmla="*/ 33872 w 51323"/>
                <a:gd name="connsiteY1458" fmla="*/ 6922 h 51323"/>
                <a:gd name="connsiteX1459" fmla="*/ 33872 w 51323"/>
                <a:gd name="connsiteY1459" fmla="*/ 6922 h 51323"/>
                <a:gd name="connsiteX1460" fmla="*/ 33615 w 51323"/>
                <a:gd name="connsiteY1460" fmla="*/ 6768 h 51323"/>
                <a:gd name="connsiteX1461" fmla="*/ 33615 w 51323"/>
                <a:gd name="connsiteY1461" fmla="*/ 6768 h 51323"/>
                <a:gd name="connsiteX1462" fmla="*/ 33168 w 51323"/>
                <a:gd name="connsiteY1462" fmla="*/ 6458 h 51323"/>
                <a:gd name="connsiteX1463" fmla="*/ 33168 w 51323"/>
                <a:gd name="connsiteY1463" fmla="*/ 6458 h 51323"/>
                <a:gd name="connsiteX1464" fmla="*/ 32910 w 51323"/>
                <a:gd name="connsiteY1464" fmla="*/ 6287 h 51323"/>
                <a:gd name="connsiteX1465" fmla="*/ 32910 w 51323"/>
                <a:gd name="connsiteY1465" fmla="*/ 6287 h 51323"/>
                <a:gd name="connsiteX1466" fmla="*/ 32910 w 51323"/>
                <a:gd name="connsiteY1466" fmla="*/ 6287 h 51323"/>
                <a:gd name="connsiteX1467" fmla="*/ 32910 w 51323"/>
                <a:gd name="connsiteY1467" fmla="*/ 6287 h 51323"/>
                <a:gd name="connsiteX1468" fmla="*/ 32687 w 51323"/>
                <a:gd name="connsiteY1468" fmla="*/ 6184 h 51323"/>
                <a:gd name="connsiteX1469" fmla="*/ 32687 w 51323"/>
                <a:gd name="connsiteY1469" fmla="*/ 6184 h 51323"/>
                <a:gd name="connsiteX1470" fmla="*/ 32687 w 51323"/>
                <a:gd name="connsiteY1470" fmla="*/ 6184 h 51323"/>
                <a:gd name="connsiteX1471" fmla="*/ 32687 w 51323"/>
                <a:gd name="connsiteY1471" fmla="*/ 6184 h 51323"/>
                <a:gd name="connsiteX1472" fmla="*/ 32687 w 51323"/>
                <a:gd name="connsiteY1472" fmla="*/ 6184 h 51323"/>
                <a:gd name="connsiteX1473" fmla="*/ 32962 w 51323"/>
                <a:gd name="connsiteY1473" fmla="*/ 6287 h 51323"/>
                <a:gd name="connsiteX1474" fmla="*/ 32739 w 51323"/>
                <a:gd name="connsiteY1474" fmla="*/ 6184 h 51323"/>
                <a:gd name="connsiteX1475" fmla="*/ 32893 w 51323"/>
                <a:gd name="connsiteY1475" fmla="*/ 6184 h 51323"/>
                <a:gd name="connsiteX1476" fmla="*/ 32807 w 51323"/>
                <a:gd name="connsiteY1476" fmla="*/ 6184 h 51323"/>
                <a:gd name="connsiteX1477" fmla="*/ 32670 w 51323"/>
                <a:gd name="connsiteY1477" fmla="*/ 6184 h 51323"/>
                <a:gd name="connsiteX1478" fmla="*/ 32670 w 51323"/>
                <a:gd name="connsiteY1478" fmla="*/ 6184 h 51323"/>
                <a:gd name="connsiteX1479" fmla="*/ 32532 w 51323"/>
                <a:gd name="connsiteY1479" fmla="*/ 6184 h 51323"/>
                <a:gd name="connsiteX1480" fmla="*/ 32876 w 51323"/>
                <a:gd name="connsiteY1480" fmla="*/ 6304 h 51323"/>
                <a:gd name="connsiteX1481" fmla="*/ 32481 w 51323"/>
                <a:gd name="connsiteY1481" fmla="*/ 6166 h 51323"/>
                <a:gd name="connsiteX1482" fmla="*/ 32481 w 51323"/>
                <a:gd name="connsiteY1482" fmla="*/ 6166 h 51323"/>
                <a:gd name="connsiteX1483" fmla="*/ 32343 w 51323"/>
                <a:gd name="connsiteY1483" fmla="*/ 6166 h 51323"/>
                <a:gd name="connsiteX1484" fmla="*/ 32343 w 51323"/>
                <a:gd name="connsiteY1484" fmla="*/ 6166 h 51323"/>
                <a:gd name="connsiteX1485" fmla="*/ 32343 w 51323"/>
                <a:gd name="connsiteY1485" fmla="*/ 6166 h 51323"/>
                <a:gd name="connsiteX1486" fmla="*/ 32206 w 51323"/>
                <a:gd name="connsiteY1486" fmla="*/ 6166 h 51323"/>
                <a:gd name="connsiteX1487" fmla="*/ 32206 w 51323"/>
                <a:gd name="connsiteY1487" fmla="*/ 6166 h 51323"/>
                <a:gd name="connsiteX1488" fmla="*/ 31742 w 51323"/>
                <a:gd name="connsiteY1488" fmla="*/ 6029 h 51323"/>
                <a:gd name="connsiteX1489" fmla="*/ 31742 w 51323"/>
                <a:gd name="connsiteY1489" fmla="*/ 6029 h 51323"/>
                <a:gd name="connsiteX1490" fmla="*/ 30952 w 51323"/>
                <a:gd name="connsiteY1490" fmla="*/ 5754 h 51323"/>
                <a:gd name="connsiteX1491" fmla="*/ 30952 w 51323"/>
                <a:gd name="connsiteY1491" fmla="*/ 5754 h 51323"/>
                <a:gd name="connsiteX1492" fmla="*/ 31055 w 51323"/>
                <a:gd name="connsiteY1492" fmla="*/ 5754 h 51323"/>
                <a:gd name="connsiteX1493" fmla="*/ 31055 w 51323"/>
                <a:gd name="connsiteY1493" fmla="*/ 5754 h 51323"/>
                <a:gd name="connsiteX1494" fmla="*/ 31605 w 51323"/>
                <a:gd name="connsiteY1494" fmla="*/ 5909 h 51323"/>
                <a:gd name="connsiteX1495" fmla="*/ 31416 w 51323"/>
                <a:gd name="connsiteY1495" fmla="*/ 5909 h 51323"/>
                <a:gd name="connsiteX1496" fmla="*/ 31588 w 51323"/>
                <a:gd name="connsiteY1496" fmla="*/ 5909 h 51323"/>
                <a:gd name="connsiteX1497" fmla="*/ 31485 w 51323"/>
                <a:gd name="connsiteY1497" fmla="*/ 5909 h 51323"/>
                <a:gd name="connsiteX1498" fmla="*/ 31485 w 51323"/>
                <a:gd name="connsiteY1498" fmla="*/ 5909 h 51323"/>
                <a:gd name="connsiteX1499" fmla="*/ 31485 w 51323"/>
                <a:gd name="connsiteY1499" fmla="*/ 5909 h 51323"/>
                <a:gd name="connsiteX1500" fmla="*/ 31811 w 51323"/>
                <a:gd name="connsiteY1500" fmla="*/ 5909 h 51323"/>
                <a:gd name="connsiteX1501" fmla="*/ 31811 w 51323"/>
                <a:gd name="connsiteY1501" fmla="*/ 5909 h 51323"/>
                <a:gd name="connsiteX1502" fmla="*/ 31708 w 51323"/>
                <a:gd name="connsiteY1502" fmla="*/ 5909 h 51323"/>
                <a:gd name="connsiteX1503" fmla="*/ 31708 w 51323"/>
                <a:gd name="connsiteY1503" fmla="*/ 5909 h 51323"/>
                <a:gd name="connsiteX1504" fmla="*/ 31708 w 51323"/>
                <a:gd name="connsiteY1504" fmla="*/ 5909 h 51323"/>
                <a:gd name="connsiteX1505" fmla="*/ 31708 w 51323"/>
                <a:gd name="connsiteY1505" fmla="*/ 5909 h 51323"/>
                <a:gd name="connsiteX1506" fmla="*/ 31708 w 51323"/>
                <a:gd name="connsiteY1506" fmla="*/ 5909 h 51323"/>
                <a:gd name="connsiteX1507" fmla="*/ 32292 w 51323"/>
                <a:gd name="connsiteY1507" fmla="*/ 6046 h 51323"/>
                <a:gd name="connsiteX1508" fmla="*/ 32051 w 51323"/>
                <a:gd name="connsiteY1508" fmla="*/ 6046 h 51323"/>
                <a:gd name="connsiteX1509" fmla="*/ 32378 w 51323"/>
                <a:gd name="connsiteY1509" fmla="*/ 6046 h 51323"/>
                <a:gd name="connsiteX1510" fmla="*/ 32635 w 51323"/>
                <a:gd name="connsiteY1510" fmla="*/ 6046 h 51323"/>
                <a:gd name="connsiteX1511" fmla="*/ 32635 w 51323"/>
                <a:gd name="connsiteY1511" fmla="*/ 6046 h 51323"/>
                <a:gd name="connsiteX1512" fmla="*/ 32773 w 51323"/>
                <a:gd name="connsiteY1512" fmla="*/ 6046 h 51323"/>
                <a:gd name="connsiteX1513" fmla="*/ 32773 w 51323"/>
                <a:gd name="connsiteY1513" fmla="*/ 6046 h 51323"/>
                <a:gd name="connsiteX1514" fmla="*/ 32773 w 51323"/>
                <a:gd name="connsiteY1514" fmla="*/ 6046 h 51323"/>
                <a:gd name="connsiteX1515" fmla="*/ 34010 w 51323"/>
                <a:gd name="connsiteY1515" fmla="*/ 6493 h 51323"/>
                <a:gd name="connsiteX1516" fmla="*/ 34010 w 51323"/>
                <a:gd name="connsiteY1516" fmla="*/ 6493 h 51323"/>
                <a:gd name="connsiteX1517" fmla="*/ 34645 w 51323"/>
                <a:gd name="connsiteY1517" fmla="*/ 6768 h 51323"/>
                <a:gd name="connsiteX1518" fmla="*/ 34645 w 51323"/>
                <a:gd name="connsiteY1518" fmla="*/ 6768 h 51323"/>
                <a:gd name="connsiteX1519" fmla="*/ 35470 w 51323"/>
                <a:gd name="connsiteY1519" fmla="*/ 7163 h 51323"/>
                <a:gd name="connsiteX1520" fmla="*/ 34662 w 51323"/>
                <a:gd name="connsiteY1520" fmla="*/ 6733 h 51323"/>
                <a:gd name="connsiteX1521" fmla="*/ 34662 w 51323"/>
                <a:gd name="connsiteY1521" fmla="*/ 6733 h 51323"/>
                <a:gd name="connsiteX1522" fmla="*/ 34353 w 51323"/>
                <a:gd name="connsiteY1522" fmla="*/ 6596 h 51323"/>
                <a:gd name="connsiteX1523" fmla="*/ 34491 w 51323"/>
                <a:gd name="connsiteY1523" fmla="*/ 6596 h 51323"/>
                <a:gd name="connsiteX1524" fmla="*/ 34250 w 51323"/>
                <a:gd name="connsiteY1524" fmla="*/ 6493 h 51323"/>
                <a:gd name="connsiteX1525" fmla="*/ 34113 w 51323"/>
                <a:gd name="connsiteY1525" fmla="*/ 6493 h 51323"/>
                <a:gd name="connsiteX1526" fmla="*/ 34422 w 51323"/>
                <a:gd name="connsiteY1526" fmla="*/ 6596 h 51323"/>
                <a:gd name="connsiteX1527" fmla="*/ 34113 w 51323"/>
                <a:gd name="connsiteY1527" fmla="*/ 6476 h 51323"/>
                <a:gd name="connsiteX1528" fmla="*/ 34628 w 51323"/>
                <a:gd name="connsiteY1528" fmla="*/ 6630 h 51323"/>
                <a:gd name="connsiteX1529" fmla="*/ 34473 w 51323"/>
                <a:gd name="connsiteY1529" fmla="*/ 6630 h 51323"/>
                <a:gd name="connsiteX1530" fmla="*/ 34473 w 51323"/>
                <a:gd name="connsiteY1530" fmla="*/ 6630 h 51323"/>
                <a:gd name="connsiteX1531" fmla="*/ 33700 w 51323"/>
                <a:gd name="connsiteY1531" fmla="*/ 4827 h 51323"/>
                <a:gd name="connsiteX1532" fmla="*/ 49314 w 51323"/>
                <a:gd name="connsiteY1532" fmla="*/ 25438 h 51323"/>
                <a:gd name="connsiteX1533" fmla="*/ 49177 w 51323"/>
                <a:gd name="connsiteY1533" fmla="*/ 26452 h 51323"/>
                <a:gd name="connsiteX1534" fmla="*/ 49159 w 51323"/>
                <a:gd name="connsiteY1534" fmla="*/ 26589 h 5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</a:cxnLst>
              <a:rect l="l" t="t" r="r" b="b"/>
              <a:pathLst>
                <a:path w="51323" h="51323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FDB19AA4-F79C-4F57-8079-2753D73438F9}"/>
                </a:ext>
              </a:extLst>
            </p:cNvPr>
            <p:cNvSpPr/>
            <p:nvPr/>
          </p:nvSpPr>
          <p:spPr>
            <a:xfrm rot="16200000">
              <a:off x="12026199" y="6563439"/>
              <a:ext cx="13277" cy="68070"/>
            </a:xfrm>
            <a:custGeom>
              <a:avLst/>
              <a:gdLst>
                <a:gd name="connsiteX0" fmla="*/ 13277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7 w 13277"/>
                <a:gd name="connsiteY3" fmla="*/ 0 h 68070"/>
                <a:gd name="connsiteX4" fmla="*/ 0 w 13277"/>
                <a:gd name="connsiteY4" fmla="*/ 17984 h 68070"/>
                <a:gd name="connsiteX5" fmla="*/ 13277 w 13277"/>
                <a:gd name="connsiteY5" fmla="*/ 17984 h 68070"/>
                <a:gd name="connsiteX6" fmla="*/ 13277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614D237-BF63-4029-98DA-D71D891F28BD}"/>
                </a:ext>
              </a:extLst>
            </p:cNvPr>
            <p:cNvSpPr/>
            <p:nvPr/>
          </p:nvSpPr>
          <p:spPr>
            <a:xfrm rot="16200000">
              <a:off x="12018640" y="6529825"/>
              <a:ext cx="45208" cy="51256"/>
            </a:xfrm>
            <a:custGeom>
              <a:avLst/>
              <a:gdLst>
                <a:gd name="connsiteX0" fmla="*/ 40279 w 45208"/>
                <a:gd name="connsiteY0" fmla="*/ 4038 h 51256"/>
                <a:gd name="connsiteX1" fmla="*/ 45209 w 45208"/>
                <a:gd name="connsiteY1" fmla="*/ 17521 h 51256"/>
                <a:gd name="connsiteX2" fmla="*/ 45209 w 45208"/>
                <a:gd name="connsiteY2" fmla="*/ 51256 h 51256"/>
                <a:gd name="connsiteX3" fmla="*/ 31794 w 45208"/>
                <a:gd name="connsiteY3" fmla="*/ 51256 h 51256"/>
                <a:gd name="connsiteX4" fmla="*/ 31794 w 45208"/>
                <a:gd name="connsiteY4" fmla="*/ 20785 h 51256"/>
                <a:gd name="connsiteX5" fmla="*/ 30746 w 45208"/>
                <a:gd name="connsiteY5" fmla="*/ 14722 h 51256"/>
                <a:gd name="connsiteX6" fmla="*/ 23446 w 45208"/>
                <a:gd name="connsiteY6" fmla="*/ 10874 h 51256"/>
                <a:gd name="connsiteX7" fmla="*/ 14360 w 45208"/>
                <a:gd name="connsiteY7" fmla="*/ 16525 h 51256"/>
                <a:gd name="connsiteX8" fmla="*/ 13089 w 45208"/>
                <a:gd name="connsiteY8" fmla="*/ 24152 h 51256"/>
                <a:gd name="connsiteX9" fmla="*/ 13089 w 45208"/>
                <a:gd name="connsiteY9" fmla="*/ 51256 h 51256"/>
                <a:gd name="connsiteX10" fmla="*/ 0 w 45208"/>
                <a:gd name="connsiteY10" fmla="*/ 51256 h 51256"/>
                <a:gd name="connsiteX11" fmla="*/ 0 w 45208"/>
                <a:gd name="connsiteY11" fmla="*/ 1272 h 51256"/>
                <a:gd name="connsiteX12" fmla="*/ 12676 w 45208"/>
                <a:gd name="connsiteY12" fmla="*/ 1272 h 51256"/>
                <a:gd name="connsiteX13" fmla="*/ 12676 w 45208"/>
                <a:gd name="connsiteY13" fmla="*/ 8607 h 51256"/>
                <a:gd name="connsiteX14" fmla="*/ 17434 w 45208"/>
                <a:gd name="connsiteY14" fmla="*/ 3042 h 51256"/>
                <a:gd name="connsiteX15" fmla="*/ 27637 w 45208"/>
                <a:gd name="connsiteY15" fmla="*/ 19 h 51256"/>
                <a:gd name="connsiteX16" fmla="*/ 40279 w 45208"/>
                <a:gd name="connsiteY16" fmla="*/ 4038 h 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6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B16BE89-A7E5-45F9-971D-D0BD8B330A7A}"/>
                </a:ext>
              </a:extLst>
            </p:cNvPr>
            <p:cNvSpPr/>
            <p:nvPr/>
          </p:nvSpPr>
          <p:spPr>
            <a:xfrm rot="16200000">
              <a:off x="12018195" y="6477145"/>
              <a:ext cx="28942" cy="68414"/>
            </a:xfrm>
            <a:custGeom>
              <a:avLst/>
              <a:gdLst>
                <a:gd name="connsiteX0" fmla="*/ 25868 w 28942"/>
                <a:gd name="connsiteY0" fmla="*/ 0 h 68414"/>
                <a:gd name="connsiteX1" fmla="*/ 28616 w 28942"/>
                <a:gd name="connsiteY1" fmla="*/ 206 h 68414"/>
                <a:gd name="connsiteX2" fmla="*/ 28616 w 28942"/>
                <a:gd name="connsiteY2" fmla="*/ 10941 h 68414"/>
                <a:gd name="connsiteX3" fmla="*/ 24923 w 28942"/>
                <a:gd name="connsiteY3" fmla="*/ 10735 h 68414"/>
                <a:gd name="connsiteX4" fmla="*/ 21333 w 28942"/>
                <a:gd name="connsiteY4" fmla="*/ 11869 h 68414"/>
                <a:gd name="connsiteX5" fmla="*/ 20354 w 28942"/>
                <a:gd name="connsiteY5" fmla="*/ 14566 h 68414"/>
                <a:gd name="connsiteX6" fmla="*/ 20354 w 28942"/>
                <a:gd name="connsiteY6" fmla="*/ 18791 h 68414"/>
                <a:gd name="connsiteX7" fmla="*/ 28943 w 28942"/>
                <a:gd name="connsiteY7" fmla="*/ 18791 h 68414"/>
                <a:gd name="connsiteX8" fmla="*/ 28943 w 28942"/>
                <a:gd name="connsiteY8" fmla="*/ 28032 h 68414"/>
                <a:gd name="connsiteX9" fmla="*/ 20354 w 28942"/>
                <a:gd name="connsiteY9" fmla="*/ 28032 h 68414"/>
                <a:gd name="connsiteX10" fmla="*/ 20354 w 28942"/>
                <a:gd name="connsiteY10" fmla="*/ 68414 h 68414"/>
                <a:gd name="connsiteX11" fmla="*/ 7352 w 28942"/>
                <a:gd name="connsiteY11" fmla="*/ 68414 h 68414"/>
                <a:gd name="connsiteX12" fmla="*/ 7352 w 28942"/>
                <a:gd name="connsiteY12" fmla="*/ 28032 h 68414"/>
                <a:gd name="connsiteX13" fmla="*/ 0 w 28942"/>
                <a:gd name="connsiteY13" fmla="*/ 28032 h 68414"/>
                <a:gd name="connsiteX14" fmla="*/ 0 w 28942"/>
                <a:gd name="connsiteY14" fmla="*/ 18791 h 68414"/>
                <a:gd name="connsiteX15" fmla="*/ 7163 w 28942"/>
                <a:gd name="connsiteY15" fmla="*/ 18791 h 68414"/>
                <a:gd name="connsiteX16" fmla="*/ 7163 w 28942"/>
                <a:gd name="connsiteY16" fmla="*/ 15579 h 68414"/>
                <a:gd name="connsiteX17" fmla="*/ 9877 w 28942"/>
                <a:gd name="connsiteY17" fmla="*/ 4500 h 68414"/>
                <a:gd name="connsiteX18" fmla="*/ 23618 w 28942"/>
                <a:gd name="connsiteY18" fmla="*/ 0 h 68414"/>
                <a:gd name="connsiteX19" fmla="*/ 25868 w 28942"/>
                <a:gd name="connsiteY19" fmla="*/ 0 h 6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42" h="68414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05136AA-2C5A-47B0-9E10-05F2E530C402}"/>
                </a:ext>
              </a:extLst>
            </p:cNvPr>
            <p:cNvSpPr/>
            <p:nvPr/>
          </p:nvSpPr>
          <p:spPr>
            <a:xfrm rot="16200000">
              <a:off x="12016830" y="6161182"/>
              <a:ext cx="49036" cy="51048"/>
            </a:xfrm>
            <a:custGeom>
              <a:avLst/>
              <a:gdLst>
                <a:gd name="connsiteX0" fmla="*/ 42949 w 49036"/>
                <a:gd name="connsiteY0" fmla="*/ 43542 h 51048"/>
                <a:gd name="connsiteX1" fmla="*/ 24519 w 49036"/>
                <a:gd name="connsiteY1" fmla="*/ 51049 h 51048"/>
                <a:gd name="connsiteX2" fmla="*/ 6071 w 49036"/>
                <a:gd name="connsiteY2" fmla="*/ 43542 h 51048"/>
                <a:gd name="connsiteX3" fmla="*/ 8 w 49036"/>
                <a:gd name="connsiteY3" fmla="*/ 25576 h 51048"/>
                <a:gd name="connsiteX4" fmla="*/ 6071 w 49036"/>
                <a:gd name="connsiteY4" fmla="*/ 7592 h 51048"/>
                <a:gd name="connsiteX5" fmla="*/ 24519 w 49036"/>
                <a:gd name="connsiteY5" fmla="*/ 0 h 51048"/>
                <a:gd name="connsiteX6" fmla="*/ 42949 w 49036"/>
                <a:gd name="connsiteY6" fmla="*/ 7592 h 51048"/>
                <a:gd name="connsiteX7" fmla="*/ 49030 w 49036"/>
                <a:gd name="connsiteY7" fmla="*/ 25576 h 51048"/>
                <a:gd name="connsiteX8" fmla="*/ 42949 w 49036"/>
                <a:gd name="connsiteY8" fmla="*/ 43542 h 51048"/>
                <a:gd name="connsiteX9" fmla="*/ 32918 w 49036"/>
                <a:gd name="connsiteY9" fmla="*/ 36672 h 51048"/>
                <a:gd name="connsiteX10" fmla="*/ 35872 w 49036"/>
                <a:gd name="connsiteY10" fmla="*/ 25576 h 51048"/>
                <a:gd name="connsiteX11" fmla="*/ 32918 w 49036"/>
                <a:gd name="connsiteY11" fmla="*/ 14480 h 51048"/>
                <a:gd name="connsiteX12" fmla="*/ 17172 w 49036"/>
                <a:gd name="connsiteY12" fmla="*/ 13307 h 51048"/>
                <a:gd name="connsiteX13" fmla="*/ 15999 w 49036"/>
                <a:gd name="connsiteY13" fmla="*/ 14480 h 51048"/>
                <a:gd name="connsiteX14" fmla="*/ 13027 w 49036"/>
                <a:gd name="connsiteY14" fmla="*/ 25576 h 51048"/>
                <a:gd name="connsiteX15" fmla="*/ 15999 w 49036"/>
                <a:gd name="connsiteY15" fmla="*/ 36706 h 51048"/>
                <a:gd name="connsiteX16" fmla="*/ 31692 w 49036"/>
                <a:gd name="connsiteY16" fmla="*/ 37932 h 51048"/>
                <a:gd name="connsiteX17" fmla="*/ 32918 w 49036"/>
                <a:gd name="connsiteY17" fmla="*/ 36706 h 51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036" h="51048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547C5FE-7A4A-4EDD-B629-A30100071A11}"/>
                </a:ext>
              </a:extLst>
            </p:cNvPr>
            <p:cNvSpPr/>
            <p:nvPr/>
          </p:nvSpPr>
          <p:spPr>
            <a:xfrm rot="16200000">
              <a:off x="12005374" y="6370523"/>
              <a:ext cx="71791" cy="51205"/>
            </a:xfrm>
            <a:custGeom>
              <a:avLst/>
              <a:gdLst>
                <a:gd name="connsiteX0" fmla="*/ 62643 w 71791"/>
                <a:gd name="connsiteY0" fmla="*/ 1307 h 51205"/>
                <a:gd name="connsiteX1" fmla="*/ 68466 w 71791"/>
                <a:gd name="connsiteY1" fmla="*/ 5808 h 51205"/>
                <a:gd name="connsiteX2" fmla="*/ 71317 w 71791"/>
                <a:gd name="connsiteY2" fmla="*/ 12249 h 51205"/>
                <a:gd name="connsiteX3" fmla="*/ 71781 w 71791"/>
                <a:gd name="connsiteY3" fmla="*/ 19635 h 51205"/>
                <a:gd name="connsiteX4" fmla="*/ 71781 w 71791"/>
                <a:gd name="connsiteY4" fmla="*/ 51205 h 51205"/>
                <a:gd name="connsiteX5" fmla="*/ 58349 w 71791"/>
                <a:gd name="connsiteY5" fmla="*/ 51205 h 51205"/>
                <a:gd name="connsiteX6" fmla="*/ 58349 w 71791"/>
                <a:gd name="connsiteY6" fmla="*/ 19308 h 51205"/>
                <a:gd name="connsiteX7" fmla="*/ 57438 w 71791"/>
                <a:gd name="connsiteY7" fmla="*/ 14636 h 51205"/>
                <a:gd name="connsiteX8" fmla="*/ 50997 w 71791"/>
                <a:gd name="connsiteY8" fmla="*/ 11201 h 51205"/>
                <a:gd name="connsiteX9" fmla="*/ 43525 w 71791"/>
                <a:gd name="connsiteY9" fmla="*/ 15701 h 51205"/>
                <a:gd name="connsiteX10" fmla="*/ 42460 w 71791"/>
                <a:gd name="connsiteY10" fmla="*/ 21455 h 51205"/>
                <a:gd name="connsiteX11" fmla="*/ 42460 w 71791"/>
                <a:gd name="connsiteY11" fmla="*/ 51205 h 51205"/>
                <a:gd name="connsiteX12" fmla="*/ 29269 w 71791"/>
                <a:gd name="connsiteY12" fmla="*/ 51205 h 51205"/>
                <a:gd name="connsiteX13" fmla="*/ 29269 w 71791"/>
                <a:gd name="connsiteY13" fmla="*/ 21387 h 51205"/>
                <a:gd name="connsiteX14" fmla="*/ 28359 w 71791"/>
                <a:gd name="connsiteY14" fmla="*/ 14911 h 51205"/>
                <a:gd name="connsiteX15" fmla="*/ 21883 w 71791"/>
                <a:gd name="connsiteY15" fmla="*/ 11270 h 51205"/>
                <a:gd name="connsiteX16" fmla="*/ 14342 w 71791"/>
                <a:gd name="connsiteY16" fmla="*/ 14911 h 51205"/>
                <a:gd name="connsiteX17" fmla="*/ 13277 w 71791"/>
                <a:gd name="connsiteY17" fmla="*/ 21060 h 51205"/>
                <a:gd name="connsiteX18" fmla="*/ 13277 w 71791"/>
                <a:gd name="connsiteY18" fmla="*/ 51205 h 51205"/>
                <a:gd name="connsiteX19" fmla="*/ 0 w 71791"/>
                <a:gd name="connsiteY19" fmla="*/ 51205 h 51205"/>
                <a:gd name="connsiteX20" fmla="*/ 0 w 71791"/>
                <a:gd name="connsiteY20" fmla="*/ 1221 h 51205"/>
                <a:gd name="connsiteX21" fmla="*/ 12728 w 71791"/>
                <a:gd name="connsiteY21" fmla="*/ 1221 h 51205"/>
                <a:gd name="connsiteX22" fmla="*/ 12728 w 71791"/>
                <a:gd name="connsiteY22" fmla="*/ 8556 h 51205"/>
                <a:gd name="connsiteX23" fmla="*/ 17331 w 71791"/>
                <a:gd name="connsiteY23" fmla="*/ 2991 h 51205"/>
                <a:gd name="connsiteX24" fmla="*/ 36483 w 71791"/>
                <a:gd name="connsiteY24" fmla="*/ 2578 h 51205"/>
                <a:gd name="connsiteX25" fmla="*/ 40726 w 71791"/>
                <a:gd name="connsiteY25" fmla="*/ 8556 h 51205"/>
                <a:gd name="connsiteX26" fmla="*/ 47098 w 71791"/>
                <a:gd name="connsiteY26" fmla="*/ 2063 h 51205"/>
                <a:gd name="connsiteX27" fmla="*/ 56116 w 71791"/>
                <a:gd name="connsiteY27" fmla="*/ 2 h 51205"/>
                <a:gd name="connsiteX28" fmla="*/ 62643 w 71791"/>
                <a:gd name="connsiteY28" fmla="*/ 1307 h 5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1791" h="51205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BD0E1BA-DF6A-404C-9E16-E00370C5726B}"/>
                </a:ext>
              </a:extLst>
            </p:cNvPr>
            <p:cNvSpPr/>
            <p:nvPr/>
          </p:nvSpPr>
          <p:spPr>
            <a:xfrm rot="16200000">
              <a:off x="12026199" y="6307354"/>
              <a:ext cx="13277" cy="68070"/>
            </a:xfrm>
            <a:custGeom>
              <a:avLst/>
              <a:gdLst>
                <a:gd name="connsiteX0" fmla="*/ 13278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8 w 13277"/>
                <a:gd name="connsiteY3" fmla="*/ 0 h 68070"/>
                <a:gd name="connsiteX4" fmla="*/ 0 w 13277"/>
                <a:gd name="connsiteY4" fmla="*/ 17984 h 68070"/>
                <a:gd name="connsiteX5" fmla="*/ 13278 w 13277"/>
                <a:gd name="connsiteY5" fmla="*/ 17984 h 68070"/>
                <a:gd name="connsiteX6" fmla="*/ 13278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B07B6BF-075A-4C4F-BA25-883DFCB72291}"/>
                </a:ext>
              </a:extLst>
            </p:cNvPr>
            <p:cNvSpPr/>
            <p:nvPr/>
          </p:nvSpPr>
          <p:spPr>
            <a:xfrm rot="16200000">
              <a:off x="12018641" y="6273739"/>
              <a:ext cx="45208" cy="51255"/>
            </a:xfrm>
            <a:custGeom>
              <a:avLst/>
              <a:gdLst>
                <a:gd name="connsiteX0" fmla="*/ 40296 w 45208"/>
                <a:gd name="connsiteY0" fmla="*/ 4038 h 51255"/>
                <a:gd name="connsiteX1" fmla="*/ 45209 w 45208"/>
                <a:gd name="connsiteY1" fmla="*/ 17521 h 51255"/>
                <a:gd name="connsiteX2" fmla="*/ 45209 w 45208"/>
                <a:gd name="connsiteY2" fmla="*/ 51256 h 51255"/>
                <a:gd name="connsiteX3" fmla="*/ 31794 w 45208"/>
                <a:gd name="connsiteY3" fmla="*/ 51256 h 51255"/>
                <a:gd name="connsiteX4" fmla="*/ 31794 w 45208"/>
                <a:gd name="connsiteY4" fmla="*/ 20785 h 51255"/>
                <a:gd name="connsiteX5" fmla="*/ 30746 w 45208"/>
                <a:gd name="connsiteY5" fmla="*/ 14722 h 51255"/>
                <a:gd name="connsiteX6" fmla="*/ 23446 w 45208"/>
                <a:gd name="connsiteY6" fmla="*/ 10874 h 51255"/>
                <a:gd name="connsiteX7" fmla="*/ 14377 w 45208"/>
                <a:gd name="connsiteY7" fmla="*/ 16525 h 51255"/>
                <a:gd name="connsiteX8" fmla="*/ 13089 w 45208"/>
                <a:gd name="connsiteY8" fmla="*/ 24151 h 51255"/>
                <a:gd name="connsiteX9" fmla="*/ 13089 w 45208"/>
                <a:gd name="connsiteY9" fmla="*/ 51256 h 51255"/>
                <a:gd name="connsiteX10" fmla="*/ 0 w 45208"/>
                <a:gd name="connsiteY10" fmla="*/ 51256 h 51255"/>
                <a:gd name="connsiteX11" fmla="*/ 0 w 45208"/>
                <a:gd name="connsiteY11" fmla="*/ 1272 h 51255"/>
                <a:gd name="connsiteX12" fmla="*/ 12676 w 45208"/>
                <a:gd name="connsiteY12" fmla="*/ 1272 h 51255"/>
                <a:gd name="connsiteX13" fmla="*/ 12676 w 45208"/>
                <a:gd name="connsiteY13" fmla="*/ 8607 h 51255"/>
                <a:gd name="connsiteX14" fmla="*/ 17434 w 45208"/>
                <a:gd name="connsiteY14" fmla="*/ 3042 h 51255"/>
                <a:gd name="connsiteX15" fmla="*/ 27637 w 45208"/>
                <a:gd name="connsiteY15" fmla="*/ 18 h 51255"/>
                <a:gd name="connsiteX16" fmla="*/ 40296 w 45208"/>
                <a:gd name="connsiteY16" fmla="*/ 4038 h 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5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9E62E96-212A-4625-95BF-B76CFC534CF1}"/>
                </a:ext>
              </a:extLst>
            </p:cNvPr>
            <p:cNvSpPr/>
            <p:nvPr/>
          </p:nvSpPr>
          <p:spPr>
            <a:xfrm rot="16200000">
              <a:off x="12017163" y="6218687"/>
              <a:ext cx="48082" cy="51510"/>
            </a:xfrm>
            <a:custGeom>
              <a:avLst/>
              <a:gdLst>
                <a:gd name="connsiteX0" fmla="*/ 35384 w 48082"/>
                <a:gd name="connsiteY0" fmla="*/ 2281 h 51510"/>
                <a:gd name="connsiteX1" fmla="*/ 43766 w 48082"/>
                <a:gd name="connsiteY1" fmla="*/ 9444 h 51510"/>
                <a:gd name="connsiteX2" fmla="*/ 47631 w 48082"/>
                <a:gd name="connsiteY2" fmla="*/ 19475 h 51510"/>
                <a:gd name="connsiteX3" fmla="*/ 48043 w 48082"/>
                <a:gd name="connsiteY3" fmla="*/ 29094 h 51510"/>
                <a:gd name="connsiteX4" fmla="*/ 12711 w 48082"/>
                <a:gd name="connsiteY4" fmla="*/ 29094 h 51510"/>
                <a:gd name="connsiteX5" fmla="*/ 17778 w 48082"/>
                <a:gd name="connsiteY5" fmla="*/ 39400 h 51510"/>
                <a:gd name="connsiteX6" fmla="*/ 24769 w 48082"/>
                <a:gd name="connsiteY6" fmla="*/ 41237 h 51510"/>
                <a:gd name="connsiteX7" fmla="*/ 31811 w 48082"/>
                <a:gd name="connsiteY7" fmla="*/ 39004 h 51510"/>
                <a:gd name="connsiteX8" fmla="*/ 34405 w 48082"/>
                <a:gd name="connsiteY8" fmla="*/ 35672 h 51510"/>
                <a:gd name="connsiteX9" fmla="*/ 47407 w 48082"/>
                <a:gd name="connsiteY9" fmla="*/ 35672 h 51510"/>
                <a:gd name="connsiteX10" fmla="*/ 42701 w 48082"/>
                <a:gd name="connsiteY10" fmla="*/ 44432 h 51510"/>
                <a:gd name="connsiteX11" fmla="*/ 24459 w 48082"/>
                <a:gd name="connsiteY11" fmla="*/ 51509 h 51510"/>
                <a:gd name="connsiteX12" fmla="*/ 7386 w 48082"/>
                <a:gd name="connsiteY12" fmla="*/ 45549 h 51510"/>
                <a:gd name="connsiteX13" fmla="*/ 0 w 48082"/>
                <a:gd name="connsiteY13" fmla="*/ 26139 h 51510"/>
                <a:gd name="connsiteX14" fmla="*/ 6682 w 48082"/>
                <a:gd name="connsiteY14" fmla="*/ 6816 h 51510"/>
                <a:gd name="connsiteX15" fmla="*/ 23961 w 48082"/>
                <a:gd name="connsiteY15" fmla="*/ 14 h 51510"/>
                <a:gd name="connsiteX16" fmla="*/ 35384 w 48082"/>
                <a:gd name="connsiteY16" fmla="*/ 2281 h 51510"/>
                <a:gd name="connsiteX17" fmla="*/ 16490 w 48082"/>
                <a:gd name="connsiteY17" fmla="*/ 13223 h 51510"/>
                <a:gd name="connsiteX18" fmla="*/ 13054 w 48082"/>
                <a:gd name="connsiteY18" fmla="*/ 20797 h 51510"/>
                <a:gd name="connsiteX19" fmla="*/ 34886 w 48082"/>
                <a:gd name="connsiteY19" fmla="*/ 20797 h 51510"/>
                <a:gd name="connsiteX20" fmla="*/ 31450 w 48082"/>
                <a:gd name="connsiteY20" fmla="*/ 13137 h 51510"/>
                <a:gd name="connsiteX21" fmla="*/ 23961 w 48082"/>
                <a:gd name="connsiteY21" fmla="*/ 10491 h 51510"/>
                <a:gd name="connsiteX22" fmla="*/ 16490 w 48082"/>
                <a:gd name="connsiteY22" fmla="*/ 13223 h 5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8082" h="5151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3" name="Copyright">
            <a:extLst>
              <a:ext uri="{FF2B5EF4-FFF2-40B4-BE49-F238E27FC236}">
                <a16:creationId xmlns:a16="http://schemas.microsoft.com/office/drawing/2014/main" id="{9D736DFD-D753-4935-B0F1-C258D786A795}"/>
              </a:ext>
            </a:extLst>
          </p:cNvPr>
          <p:cNvSpPr txBox="1"/>
          <p:nvPr userDrawn="1"/>
        </p:nvSpPr>
        <p:spPr>
          <a:xfrm rot="16200000">
            <a:off x="11250971" y="5290633"/>
            <a:ext cx="1567737" cy="110800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lvl="0" algn="l" rtl="0"/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0. All rights reserved.</a:t>
            </a:r>
          </a:p>
        </p:txBody>
      </p:sp>
      <p:sp>
        <p:nvSpPr>
          <p:cNvPr id="24" name="Footer Placeholder 2">
            <a:extLst>
              <a:ext uri="{FF2B5EF4-FFF2-40B4-BE49-F238E27FC236}">
                <a16:creationId xmlns:a16="http://schemas.microsoft.com/office/drawing/2014/main" id="{102EDCD8-AA6A-4696-8E69-48019CAD0A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50862" y="6465614"/>
            <a:ext cx="65" cy="138499"/>
          </a:xfrm>
        </p:spPr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3874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24222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C2C367-8056-426B-81B2-4B2C7238E50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6096000" y="-1"/>
            <a:ext cx="6098539" cy="6858001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8429EF-F441-3040-BB9E-07E66E2B20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142" y="562841"/>
            <a:ext cx="5205071" cy="837152"/>
          </a:xfrm>
        </p:spPr>
        <p:txBody>
          <a:bodyPr vert="horz" wrap="square" lIns="0" tIns="0" rIns="0" bIns="0" rtlCol="0" anchor="t">
            <a:spAutoFit/>
          </a:bodyPr>
          <a:lstStyle>
            <a:lvl1pPr rtl="0">
              <a:defRPr lang="en-US" dirty="0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453" y="6445294"/>
            <a:ext cx="150683" cy="138499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8C5468B-3210-455B-960F-ACC92937B434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DD85A519-4566-4E0C-A58C-80A700C7504C}"/>
              </a:ext>
            </a:extLst>
          </p:cNvPr>
          <p:cNvGrpSpPr/>
          <p:nvPr userDrawn="1"/>
        </p:nvGrpSpPr>
        <p:grpSpPr>
          <a:xfrm>
            <a:off x="11998459" y="6162188"/>
            <a:ext cx="68500" cy="441924"/>
            <a:chOff x="11998459" y="6162188"/>
            <a:chExt cx="68500" cy="441924"/>
          </a:xfrm>
          <a:solidFill>
            <a:schemeClr val="bg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CAE1C60-A871-443D-A7F9-B6E2D559E441}"/>
                </a:ext>
              </a:extLst>
            </p:cNvPr>
            <p:cNvSpPr/>
            <p:nvPr/>
          </p:nvSpPr>
          <p:spPr>
            <a:xfrm rot="16200000">
              <a:off x="12063068" y="6476346"/>
              <a:ext cx="17" cy="1717"/>
            </a:xfrm>
            <a:custGeom>
              <a:avLst/>
              <a:gdLst>
                <a:gd name="connsiteX0" fmla="*/ 0 w 17"/>
                <a:gd name="connsiteY0" fmla="*/ 0 h 1717"/>
                <a:gd name="connsiteX1" fmla="*/ 17 w 17"/>
                <a:gd name="connsiteY1" fmla="*/ 0 h 1717"/>
                <a:gd name="connsiteX2" fmla="*/ 17 w 17"/>
                <a:gd name="connsiteY2" fmla="*/ 0 h 1717"/>
                <a:gd name="connsiteX3" fmla="*/ 0 w 17"/>
                <a:gd name="connsiteY3" fmla="*/ 0 h 1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" h="1717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1655526-EBA0-434F-9F17-F2F25EB67C64}"/>
                </a:ext>
              </a:extLst>
            </p:cNvPr>
            <p:cNvSpPr/>
            <p:nvPr/>
          </p:nvSpPr>
          <p:spPr>
            <a:xfrm rot="16200000">
              <a:off x="12023737" y="6455896"/>
              <a:ext cx="453" cy="271"/>
            </a:xfrm>
            <a:custGeom>
              <a:avLst/>
              <a:gdLst>
                <a:gd name="connsiteX0" fmla="*/ 0 w 453"/>
                <a:gd name="connsiteY0" fmla="*/ 0 h 271"/>
                <a:gd name="connsiteX1" fmla="*/ 447 w 453"/>
                <a:gd name="connsiteY1" fmla="*/ 240 h 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" h="271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7304F15-51D1-4B7A-AD7A-819CBC4AE4DD}"/>
                </a:ext>
              </a:extLst>
            </p:cNvPr>
            <p:cNvSpPr/>
            <p:nvPr/>
          </p:nvSpPr>
          <p:spPr>
            <a:xfrm rot="16200000">
              <a:off x="12023907" y="6477766"/>
              <a:ext cx="15" cy="76"/>
            </a:xfrm>
            <a:custGeom>
              <a:avLst/>
              <a:gdLst>
                <a:gd name="connsiteX0" fmla="*/ 15 w 15"/>
                <a:gd name="connsiteY0" fmla="*/ 38 h 76"/>
                <a:gd name="connsiteX1" fmla="*/ 15 w 15"/>
                <a:gd name="connsiteY1" fmla="*/ 38 h 76"/>
                <a:gd name="connsiteX2" fmla="*/ 15 w 15"/>
                <a:gd name="connsiteY2" fmla="*/ 38 h 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" h="76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338FE57-1805-4A9C-BF1D-DAD6347D2D9A}"/>
                </a:ext>
              </a:extLst>
            </p:cNvPr>
            <p:cNvSpPr/>
            <p:nvPr/>
          </p:nvSpPr>
          <p:spPr>
            <a:xfrm rot="16200000">
              <a:off x="12021636" y="6473651"/>
              <a:ext cx="261" cy="103"/>
            </a:xfrm>
            <a:custGeom>
              <a:avLst/>
              <a:gdLst>
                <a:gd name="connsiteX0" fmla="*/ 262 w 261"/>
                <a:gd name="connsiteY0" fmla="*/ 0 h 103"/>
                <a:gd name="connsiteX1" fmla="*/ 56 w 261"/>
                <a:gd name="connsiteY1" fmla="*/ 103 h 103"/>
                <a:gd name="connsiteX2" fmla="*/ 56 w 261"/>
                <a:gd name="connsiteY2" fmla="*/ 103 h 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" h="103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B569ED1-C596-40B1-BE9A-9017E2A34317}"/>
                </a:ext>
              </a:extLst>
            </p:cNvPr>
            <p:cNvSpPr/>
            <p:nvPr/>
          </p:nvSpPr>
          <p:spPr>
            <a:xfrm rot="16200000">
              <a:off x="12015635" y="6442208"/>
              <a:ext cx="51323" cy="51323"/>
            </a:xfrm>
            <a:custGeom>
              <a:avLst/>
              <a:gdLst>
                <a:gd name="connsiteX0" fmla="*/ 25662 w 51323"/>
                <a:gd name="connsiteY0" fmla="*/ 0 h 51323"/>
                <a:gd name="connsiteX1" fmla="*/ 0 w 51323"/>
                <a:gd name="connsiteY1" fmla="*/ 25662 h 51323"/>
                <a:gd name="connsiteX2" fmla="*/ 25662 w 51323"/>
                <a:gd name="connsiteY2" fmla="*/ 51323 h 51323"/>
                <a:gd name="connsiteX3" fmla="*/ 51324 w 51323"/>
                <a:gd name="connsiteY3" fmla="*/ 25662 h 51323"/>
                <a:gd name="connsiteX4" fmla="*/ 51324 w 51323"/>
                <a:gd name="connsiteY4" fmla="*/ 25610 h 51323"/>
                <a:gd name="connsiteX5" fmla="*/ 25679 w 51323"/>
                <a:gd name="connsiteY5" fmla="*/ 0 h 51323"/>
                <a:gd name="connsiteX6" fmla="*/ 25662 w 51323"/>
                <a:gd name="connsiteY6" fmla="*/ 0 h 51323"/>
                <a:gd name="connsiteX7" fmla="*/ 26967 w 51323"/>
                <a:gd name="connsiteY7" fmla="*/ 15648 h 51323"/>
                <a:gd name="connsiteX8" fmla="*/ 26967 w 51323"/>
                <a:gd name="connsiteY8" fmla="*/ 15837 h 51323"/>
                <a:gd name="connsiteX9" fmla="*/ 26744 w 51323"/>
                <a:gd name="connsiteY9" fmla="*/ 15837 h 51323"/>
                <a:gd name="connsiteX10" fmla="*/ 26933 w 51323"/>
                <a:gd name="connsiteY10" fmla="*/ 16163 h 51323"/>
                <a:gd name="connsiteX11" fmla="*/ 27036 w 51323"/>
                <a:gd name="connsiteY11" fmla="*/ 16163 h 51323"/>
                <a:gd name="connsiteX12" fmla="*/ 27294 w 51323"/>
                <a:gd name="connsiteY12" fmla="*/ 16489 h 51323"/>
                <a:gd name="connsiteX13" fmla="*/ 27294 w 51323"/>
                <a:gd name="connsiteY13" fmla="*/ 16489 h 51323"/>
                <a:gd name="connsiteX14" fmla="*/ 27294 w 51323"/>
                <a:gd name="connsiteY14" fmla="*/ 16489 h 51323"/>
                <a:gd name="connsiteX15" fmla="*/ 27294 w 51323"/>
                <a:gd name="connsiteY15" fmla="*/ 16489 h 51323"/>
                <a:gd name="connsiteX16" fmla="*/ 27156 w 51323"/>
                <a:gd name="connsiteY16" fmla="*/ 16489 h 51323"/>
                <a:gd name="connsiteX17" fmla="*/ 27156 w 51323"/>
                <a:gd name="connsiteY17" fmla="*/ 16593 h 51323"/>
                <a:gd name="connsiteX18" fmla="*/ 27156 w 51323"/>
                <a:gd name="connsiteY18" fmla="*/ 16593 h 51323"/>
                <a:gd name="connsiteX19" fmla="*/ 27379 w 51323"/>
                <a:gd name="connsiteY19" fmla="*/ 16593 h 51323"/>
                <a:gd name="connsiteX20" fmla="*/ 27276 w 51323"/>
                <a:gd name="connsiteY20" fmla="*/ 16799 h 51323"/>
                <a:gd name="connsiteX21" fmla="*/ 26744 w 51323"/>
                <a:gd name="connsiteY21" fmla="*/ 16799 h 51323"/>
                <a:gd name="connsiteX22" fmla="*/ 26074 w 51323"/>
                <a:gd name="connsiteY22" fmla="*/ 16902 h 51323"/>
                <a:gd name="connsiteX23" fmla="*/ 25868 w 51323"/>
                <a:gd name="connsiteY23" fmla="*/ 16988 h 51323"/>
                <a:gd name="connsiteX24" fmla="*/ 25559 w 51323"/>
                <a:gd name="connsiteY24" fmla="*/ 17142 h 51323"/>
                <a:gd name="connsiteX25" fmla="*/ 25404 w 51323"/>
                <a:gd name="connsiteY25" fmla="*/ 17142 h 51323"/>
                <a:gd name="connsiteX26" fmla="*/ 25816 w 51323"/>
                <a:gd name="connsiteY26" fmla="*/ 16764 h 51323"/>
                <a:gd name="connsiteX27" fmla="*/ 26194 w 51323"/>
                <a:gd name="connsiteY27" fmla="*/ 16764 h 51323"/>
                <a:gd name="connsiteX28" fmla="*/ 26349 w 51323"/>
                <a:gd name="connsiteY28" fmla="*/ 16541 h 51323"/>
                <a:gd name="connsiteX29" fmla="*/ 26005 w 51323"/>
                <a:gd name="connsiteY29" fmla="*/ 16627 h 51323"/>
                <a:gd name="connsiteX30" fmla="*/ 25902 w 51323"/>
                <a:gd name="connsiteY30" fmla="*/ 16627 h 51323"/>
                <a:gd name="connsiteX31" fmla="*/ 25662 w 51323"/>
                <a:gd name="connsiteY31" fmla="*/ 16627 h 51323"/>
                <a:gd name="connsiteX32" fmla="*/ 25662 w 51323"/>
                <a:gd name="connsiteY32" fmla="*/ 16627 h 51323"/>
                <a:gd name="connsiteX33" fmla="*/ 25662 w 51323"/>
                <a:gd name="connsiteY33" fmla="*/ 16627 h 51323"/>
                <a:gd name="connsiteX34" fmla="*/ 26005 w 51323"/>
                <a:gd name="connsiteY34" fmla="*/ 16215 h 51323"/>
                <a:gd name="connsiteX35" fmla="*/ 25834 w 51323"/>
                <a:gd name="connsiteY35" fmla="*/ 16215 h 51323"/>
                <a:gd name="connsiteX36" fmla="*/ 26297 w 51323"/>
                <a:gd name="connsiteY36" fmla="*/ 16060 h 51323"/>
                <a:gd name="connsiteX37" fmla="*/ 26297 w 51323"/>
                <a:gd name="connsiteY37" fmla="*/ 16060 h 51323"/>
                <a:gd name="connsiteX38" fmla="*/ 26297 w 51323"/>
                <a:gd name="connsiteY38" fmla="*/ 15785 h 51323"/>
                <a:gd name="connsiteX39" fmla="*/ 26194 w 51323"/>
                <a:gd name="connsiteY39" fmla="*/ 15785 h 51323"/>
                <a:gd name="connsiteX40" fmla="*/ 26194 w 51323"/>
                <a:gd name="connsiteY40" fmla="*/ 15785 h 51323"/>
                <a:gd name="connsiteX41" fmla="*/ 26194 w 51323"/>
                <a:gd name="connsiteY41" fmla="*/ 15493 h 51323"/>
                <a:gd name="connsiteX42" fmla="*/ 25834 w 51323"/>
                <a:gd name="connsiteY42" fmla="*/ 15493 h 51323"/>
                <a:gd name="connsiteX43" fmla="*/ 25834 w 51323"/>
                <a:gd name="connsiteY43" fmla="*/ 15596 h 51323"/>
                <a:gd name="connsiteX44" fmla="*/ 25713 w 51323"/>
                <a:gd name="connsiteY44" fmla="*/ 15596 h 51323"/>
                <a:gd name="connsiteX45" fmla="*/ 25713 w 51323"/>
                <a:gd name="connsiteY45" fmla="*/ 15459 h 51323"/>
                <a:gd name="connsiteX46" fmla="*/ 25713 w 51323"/>
                <a:gd name="connsiteY46" fmla="*/ 15459 h 51323"/>
                <a:gd name="connsiteX47" fmla="*/ 25816 w 51323"/>
                <a:gd name="connsiteY47" fmla="*/ 15236 h 51323"/>
                <a:gd name="connsiteX48" fmla="*/ 25816 w 51323"/>
                <a:gd name="connsiteY48" fmla="*/ 15064 h 51323"/>
                <a:gd name="connsiteX49" fmla="*/ 25816 w 51323"/>
                <a:gd name="connsiteY49" fmla="*/ 14961 h 51323"/>
                <a:gd name="connsiteX50" fmla="*/ 25816 w 51323"/>
                <a:gd name="connsiteY50" fmla="*/ 15081 h 51323"/>
                <a:gd name="connsiteX51" fmla="*/ 25816 w 51323"/>
                <a:gd name="connsiteY51" fmla="*/ 15081 h 51323"/>
                <a:gd name="connsiteX52" fmla="*/ 25816 w 51323"/>
                <a:gd name="connsiteY52" fmla="*/ 15081 h 51323"/>
                <a:gd name="connsiteX53" fmla="*/ 25816 w 51323"/>
                <a:gd name="connsiteY53" fmla="*/ 15081 h 51323"/>
                <a:gd name="connsiteX54" fmla="*/ 25816 w 51323"/>
                <a:gd name="connsiteY54" fmla="*/ 15356 h 51323"/>
                <a:gd name="connsiteX55" fmla="*/ 25816 w 51323"/>
                <a:gd name="connsiteY55" fmla="*/ 15167 h 51323"/>
                <a:gd name="connsiteX56" fmla="*/ 25919 w 51323"/>
                <a:gd name="connsiteY56" fmla="*/ 14823 h 51323"/>
                <a:gd name="connsiteX57" fmla="*/ 25919 w 51323"/>
                <a:gd name="connsiteY57" fmla="*/ 14823 h 51323"/>
                <a:gd name="connsiteX58" fmla="*/ 25731 w 51323"/>
                <a:gd name="connsiteY58" fmla="*/ 14823 h 51323"/>
                <a:gd name="connsiteX59" fmla="*/ 25731 w 51323"/>
                <a:gd name="connsiteY59" fmla="*/ 14823 h 51323"/>
                <a:gd name="connsiteX60" fmla="*/ 25868 w 51323"/>
                <a:gd name="connsiteY60" fmla="*/ 14737 h 51323"/>
                <a:gd name="connsiteX61" fmla="*/ 25868 w 51323"/>
                <a:gd name="connsiteY61" fmla="*/ 14737 h 51323"/>
                <a:gd name="connsiteX62" fmla="*/ 25868 w 51323"/>
                <a:gd name="connsiteY62" fmla="*/ 14737 h 51323"/>
                <a:gd name="connsiteX63" fmla="*/ 25868 w 51323"/>
                <a:gd name="connsiteY63" fmla="*/ 14737 h 51323"/>
                <a:gd name="connsiteX64" fmla="*/ 25868 w 51323"/>
                <a:gd name="connsiteY64" fmla="*/ 14737 h 51323"/>
                <a:gd name="connsiteX65" fmla="*/ 25868 w 51323"/>
                <a:gd name="connsiteY65" fmla="*/ 14737 h 51323"/>
                <a:gd name="connsiteX66" fmla="*/ 25868 w 51323"/>
                <a:gd name="connsiteY66" fmla="*/ 14652 h 51323"/>
                <a:gd name="connsiteX67" fmla="*/ 25868 w 51323"/>
                <a:gd name="connsiteY67" fmla="*/ 14652 h 51323"/>
                <a:gd name="connsiteX68" fmla="*/ 25868 w 51323"/>
                <a:gd name="connsiteY68" fmla="*/ 14514 h 51323"/>
                <a:gd name="connsiteX69" fmla="*/ 25868 w 51323"/>
                <a:gd name="connsiteY69" fmla="*/ 14514 h 51323"/>
                <a:gd name="connsiteX70" fmla="*/ 25868 w 51323"/>
                <a:gd name="connsiteY70" fmla="*/ 14514 h 51323"/>
                <a:gd name="connsiteX71" fmla="*/ 25971 w 51323"/>
                <a:gd name="connsiteY71" fmla="*/ 14514 h 51323"/>
                <a:gd name="connsiteX72" fmla="*/ 25971 w 51323"/>
                <a:gd name="connsiteY72" fmla="*/ 14428 h 51323"/>
                <a:gd name="connsiteX73" fmla="*/ 26126 w 51323"/>
                <a:gd name="connsiteY73" fmla="*/ 14291 h 51323"/>
                <a:gd name="connsiteX74" fmla="*/ 26126 w 51323"/>
                <a:gd name="connsiteY74" fmla="*/ 14291 h 51323"/>
                <a:gd name="connsiteX75" fmla="*/ 26126 w 51323"/>
                <a:gd name="connsiteY75" fmla="*/ 14531 h 51323"/>
                <a:gd name="connsiteX76" fmla="*/ 26126 w 51323"/>
                <a:gd name="connsiteY76" fmla="*/ 14531 h 51323"/>
                <a:gd name="connsiteX77" fmla="*/ 26486 w 51323"/>
                <a:gd name="connsiteY77" fmla="*/ 14531 h 51323"/>
                <a:gd name="connsiteX78" fmla="*/ 26263 w 51323"/>
                <a:gd name="connsiteY78" fmla="*/ 14995 h 51323"/>
                <a:gd name="connsiteX79" fmla="*/ 26263 w 51323"/>
                <a:gd name="connsiteY79" fmla="*/ 14995 h 51323"/>
                <a:gd name="connsiteX80" fmla="*/ 26005 w 51323"/>
                <a:gd name="connsiteY80" fmla="*/ 14995 h 51323"/>
                <a:gd name="connsiteX81" fmla="*/ 26224 w 51323"/>
                <a:gd name="connsiteY81" fmla="*/ 15000 h 51323"/>
                <a:gd name="connsiteX82" fmla="*/ 26229 w 51323"/>
                <a:gd name="connsiteY82" fmla="*/ 14995 h 51323"/>
                <a:gd name="connsiteX83" fmla="*/ 26589 w 51323"/>
                <a:gd name="connsiteY83" fmla="*/ 15579 h 51323"/>
                <a:gd name="connsiteX84" fmla="*/ 26967 w 51323"/>
                <a:gd name="connsiteY84" fmla="*/ 15613 h 51323"/>
                <a:gd name="connsiteX85" fmla="*/ 18138 w 51323"/>
                <a:gd name="connsiteY85" fmla="*/ 47476 h 51323"/>
                <a:gd name="connsiteX86" fmla="*/ 18138 w 51323"/>
                <a:gd name="connsiteY86" fmla="*/ 47476 h 51323"/>
                <a:gd name="connsiteX87" fmla="*/ 18138 w 51323"/>
                <a:gd name="connsiteY87" fmla="*/ 47476 h 51323"/>
                <a:gd name="connsiteX88" fmla="*/ 18138 w 51323"/>
                <a:gd name="connsiteY88" fmla="*/ 47476 h 51323"/>
                <a:gd name="connsiteX89" fmla="*/ 18224 w 51323"/>
                <a:gd name="connsiteY89" fmla="*/ 47476 h 51323"/>
                <a:gd name="connsiteX90" fmla="*/ 18224 w 51323"/>
                <a:gd name="connsiteY90" fmla="*/ 47476 h 51323"/>
                <a:gd name="connsiteX91" fmla="*/ 17984 w 51323"/>
                <a:gd name="connsiteY91" fmla="*/ 47338 h 51323"/>
                <a:gd name="connsiteX92" fmla="*/ 17984 w 51323"/>
                <a:gd name="connsiteY92" fmla="*/ 47338 h 51323"/>
                <a:gd name="connsiteX93" fmla="*/ 17984 w 51323"/>
                <a:gd name="connsiteY93" fmla="*/ 47338 h 51323"/>
                <a:gd name="connsiteX94" fmla="*/ 18070 w 51323"/>
                <a:gd name="connsiteY94" fmla="*/ 47338 h 51323"/>
                <a:gd name="connsiteX95" fmla="*/ 18070 w 51323"/>
                <a:gd name="connsiteY95" fmla="*/ 47338 h 51323"/>
                <a:gd name="connsiteX96" fmla="*/ 18070 w 51323"/>
                <a:gd name="connsiteY96" fmla="*/ 47338 h 51323"/>
                <a:gd name="connsiteX97" fmla="*/ 17795 w 51323"/>
                <a:gd name="connsiteY97" fmla="*/ 47218 h 51323"/>
                <a:gd name="connsiteX98" fmla="*/ 17795 w 51323"/>
                <a:gd name="connsiteY98" fmla="*/ 47218 h 51323"/>
                <a:gd name="connsiteX99" fmla="*/ 17795 w 51323"/>
                <a:gd name="connsiteY99" fmla="*/ 47218 h 51323"/>
                <a:gd name="connsiteX100" fmla="*/ 17692 w 51323"/>
                <a:gd name="connsiteY100" fmla="*/ 47218 h 51323"/>
                <a:gd name="connsiteX101" fmla="*/ 17692 w 51323"/>
                <a:gd name="connsiteY101" fmla="*/ 47218 h 51323"/>
                <a:gd name="connsiteX102" fmla="*/ 17692 w 51323"/>
                <a:gd name="connsiteY102" fmla="*/ 47218 h 51323"/>
                <a:gd name="connsiteX103" fmla="*/ 17692 w 51323"/>
                <a:gd name="connsiteY103" fmla="*/ 47218 h 51323"/>
                <a:gd name="connsiteX104" fmla="*/ 17864 w 51323"/>
                <a:gd name="connsiteY104" fmla="*/ 47218 h 51323"/>
                <a:gd name="connsiteX105" fmla="*/ 17658 w 51323"/>
                <a:gd name="connsiteY105" fmla="*/ 47218 h 51323"/>
                <a:gd name="connsiteX106" fmla="*/ 17658 w 51323"/>
                <a:gd name="connsiteY106" fmla="*/ 47218 h 51323"/>
                <a:gd name="connsiteX107" fmla="*/ 17417 w 51323"/>
                <a:gd name="connsiteY107" fmla="*/ 47115 h 51323"/>
                <a:gd name="connsiteX108" fmla="*/ 17417 w 51323"/>
                <a:gd name="connsiteY108" fmla="*/ 47115 h 51323"/>
                <a:gd name="connsiteX109" fmla="*/ 17417 w 51323"/>
                <a:gd name="connsiteY109" fmla="*/ 47115 h 51323"/>
                <a:gd name="connsiteX110" fmla="*/ 17280 w 51323"/>
                <a:gd name="connsiteY110" fmla="*/ 47115 h 51323"/>
                <a:gd name="connsiteX111" fmla="*/ 17469 w 51323"/>
                <a:gd name="connsiteY111" fmla="*/ 47218 h 51323"/>
                <a:gd name="connsiteX112" fmla="*/ 17194 w 51323"/>
                <a:gd name="connsiteY112" fmla="*/ 47081 h 51323"/>
                <a:gd name="connsiteX113" fmla="*/ 17194 w 51323"/>
                <a:gd name="connsiteY113" fmla="*/ 47081 h 51323"/>
                <a:gd name="connsiteX114" fmla="*/ 17366 w 51323"/>
                <a:gd name="connsiteY114" fmla="*/ 47081 h 51323"/>
                <a:gd name="connsiteX115" fmla="*/ 17228 w 51323"/>
                <a:gd name="connsiteY115" fmla="*/ 47081 h 51323"/>
                <a:gd name="connsiteX116" fmla="*/ 17366 w 51323"/>
                <a:gd name="connsiteY116" fmla="*/ 47081 h 51323"/>
                <a:gd name="connsiteX117" fmla="*/ 17108 w 51323"/>
                <a:gd name="connsiteY117" fmla="*/ 46961 h 51323"/>
                <a:gd name="connsiteX118" fmla="*/ 17108 w 51323"/>
                <a:gd name="connsiteY118" fmla="*/ 46961 h 51323"/>
                <a:gd name="connsiteX119" fmla="*/ 17005 w 51323"/>
                <a:gd name="connsiteY119" fmla="*/ 46961 h 51323"/>
                <a:gd name="connsiteX120" fmla="*/ 17005 w 51323"/>
                <a:gd name="connsiteY120" fmla="*/ 46961 h 51323"/>
                <a:gd name="connsiteX121" fmla="*/ 16782 w 51323"/>
                <a:gd name="connsiteY121" fmla="*/ 46858 h 51323"/>
                <a:gd name="connsiteX122" fmla="*/ 16782 w 51323"/>
                <a:gd name="connsiteY122" fmla="*/ 46858 h 51323"/>
                <a:gd name="connsiteX123" fmla="*/ 16696 w 51323"/>
                <a:gd name="connsiteY123" fmla="*/ 46858 h 51323"/>
                <a:gd name="connsiteX124" fmla="*/ 16696 w 51323"/>
                <a:gd name="connsiteY124" fmla="*/ 46858 h 51323"/>
                <a:gd name="connsiteX125" fmla="*/ 16301 w 51323"/>
                <a:gd name="connsiteY125" fmla="*/ 46651 h 51323"/>
                <a:gd name="connsiteX126" fmla="*/ 16301 w 51323"/>
                <a:gd name="connsiteY126" fmla="*/ 46651 h 51323"/>
                <a:gd name="connsiteX127" fmla="*/ 16129 w 51323"/>
                <a:gd name="connsiteY127" fmla="*/ 46548 h 51323"/>
                <a:gd name="connsiteX128" fmla="*/ 16283 w 51323"/>
                <a:gd name="connsiteY128" fmla="*/ 46651 h 51323"/>
                <a:gd name="connsiteX129" fmla="*/ 15940 w 51323"/>
                <a:gd name="connsiteY129" fmla="*/ 46462 h 51323"/>
                <a:gd name="connsiteX130" fmla="*/ 15940 w 51323"/>
                <a:gd name="connsiteY130" fmla="*/ 46462 h 51323"/>
                <a:gd name="connsiteX131" fmla="*/ 15837 w 51323"/>
                <a:gd name="connsiteY131" fmla="*/ 46462 h 51323"/>
                <a:gd name="connsiteX132" fmla="*/ 15837 w 51323"/>
                <a:gd name="connsiteY132" fmla="*/ 46462 h 51323"/>
                <a:gd name="connsiteX133" fmla="*/ 15665 w 51323"/>
                <a:gd name="connsiteY133" fmla="*/ 46359 h 51323"/>
                <a:gd name="connsiteX134" fmla="*/ 15665 w 51323"/>
                <a:gd name="connsiteY134" fmla="*/ 46359 h 51323"/>
                <a:gd name="connsiteX135" fmla="*/ 15665 w 51323"/>
                <a:gd name="connsiteY135" fmla="*/ 46359 h 51323"/>
                <a:gd name="connsiteX136" fmla="*/ 15665 w 51323"/>
                <a:gd name="connsiteY136" fmla="*/ 46359 h 51323"/>
                <a:gd name="connsiteX137" fmla="*/ 15510 w 51323"/>
                <a:gd name="connsiteY137" fmla="*/ 46274 h 51323"/>
                <a:gd name="connsiteX138" fmla="*/ 15510 w 51323"/>
                <a:gd name="connsiteY138" fmla="*/ 46274 h 51323"/>
                <a:gd name="connsiteX139" fmla="*/ 15339 w 51323"/>
                <a:gd name="connsiteY139" fmla="*/ 46153 h 51323"/>
                <a:gd name="connsiteX140" fmla="*/ 15339 w 51323"/>
                <a:gd name="connsiteY140" fmla="*/ 46153 h 51323"/>
                <a:gd name="connsiteX141" fmla="*/ 15201 w 51323"/>
                <a:gd name="connsiteY141" fmla="*/ 46153 h 51323"/>
                <a:gd name="connsiteX142" fmla="*/ 15201 w 51323"/>
                <a:gd name="connsiteY142" fmla="*/ 46153 h 51323"/>
                <a:gd name="connsiteX143" fmla="*/ 15081 w 51323"/>
                <a:gd name="connsiteY143" fmla="*/ 46153 h 51323"/>
                <a:gd name="connsiteX144" fmla="*/ 15081 w 51323"/>
                <a:gd name="connsiteY144" fmla="*/ 46153 h 51323"/>
                <a:gd name="connsiteX145" fmla="*/ 15218 w 51323"/>
                <a:gd name="connsiteY145" fmla="*/ 46239 h 51323"/>
                <a:gd name="connsiteX146" fmla="*/ 15081 w 51323"/>
                <a:gd name="connsiteY146" fmla="*/ 46153 h 51323"/>
                <a:gd name="connsiteX147" fmla="*/ 15081 w 51323"/>
                <a:gd name="connsiteY147" fmla="*/ 46153 h 51323"/>
                <a:gd name="connsiteX148" fmla="*/ 14961 w 51323"/>
                <a:gd name="connsiteY148" fmla="*/ 46153 h 51323"/>
                <a:gd name="connsiteX149" fmla="*/ 14961 w 51323"/>
                <a:gd name="connsiteY149" fmla="*/ 46153 h 51323"/>
                <a:gd name="connsiteX150" fmla="*/ 14823 w 51323"/>
                <a:gd name="connsiteY150" fmla="*/ 46067 h 51323"/>
                <a:gd name="connsiteX151" fmla="*/ 15012 w 51323"/>
                <a:gd name="connsiteY151" fmla="*/ 46170 h 51323"/>
                <a:gd name="connsiteX152" fmla="*/ 15184 w 51323"/>
                <a:gd name="connsiteY152" fmla="*/ 46274 h 51323"/>
                <a:gd name="connsiteX153" fmla="*/ 14720 w 51323"/>
                <a:gd name="connsiteY153" fmla="*/ 45947 h 51323"/>
                <a:gd name="connsiteX154" fmla="*/ 14720 w 51323"/>
                <a:gd name="connsiteY154" fmla="*/ 45947 h 51323"/>
                <a:gd name="connsiteX155" fmla="*/ 13879 w 51323"/>
                <a:gd name="connsiteY155" fmla="*/ 45312 h 51323"/>
                <a:gd name="connsiteX156" fmla="*/ 13982 w 51323"/>
                <a:gd name="connsiteY156" fmla="*/ 45312 h 51323"/>
                <a:gd name="connsiteX157" fmla="*/ 13827 w 51323"/>
                <a:gd name="connsiteY157" fmla="*/ 45191 h 51323"/>
                <a:gd name="connsiteX158" fmla="*/ 13827 w 51323"/>
                <a:gd name="connsiteY158" fmla="*/ 45191 h 51323"/>
                <a:gd name="connsiteX159" fmla="*/ 13724 w 51323"/>
                <a:gd name="connsiteY159" fmla="*/ 45191 h 51323"/>
                <a:gd name="connsiteX160" fmla="*/ 13724 w 51323"/>
                <a:gd name="connsiteY160" fmla="*/ 45191 h 51323"/>
                <a:gd name="connsiteX161" fmla="*/ 13724 w 51323"/>
                <a:gd name="connsiteY161" fmla="*/ 45191 h 51323"/>
                <a:gd name="connsiteX162" fmla="*/ 13724 w 51323"/>
                <a:gd name="connsiteY162" fmla="*/ 45191 h 51323"/>
                <a:gd name="connsiteX163" fmla="*/ 13106 w 51323"/>
                <a:gd name="connsiteY163" fmla="*/ 44710 h 51323"/>
                <a:gd name="connsiteX164" fmla="*/ 13106 w 51323"/>
                <a:gd name="connsiteY164" fmla="*/ 44710 h 51323"/>
                <a:gd name="connsiteX165" fmla="*/ 12316 w 51323"/>
                <a:gd name="connsiteY165" fmla="*/ 44023 h 51323"/>
                <a:gd name="connsiteX166" fmla="*/ 12316 w 51323"/>
                <a:gd name="connsiteY166" fmla="*/ 44023 h 51323"/>
                <a:gd name="connsiteX167" fmla="*/ 9567 w 51323"/>
                <a:gd name="connsiteY167" fmla="*/ 40434 h 51323"/>
                <a:gd name="connsiteX168" fmla="*/ 9567 w 51323"/>
                <a:gd name="connsiteY168" fmla="*/ 40434 h 51323"/>
                <a:gd name="connsiteX169" fmla="*/ 8021 w 51323"/>
                <a:gd name="connsiteY169" fmla="*/ 37788 h 51323"/>
                <a:gd name="connsiteX170" fmla="*/ 8021 w 51323"/>
                <a:gd name="connsiteY170" fmla="*/ 37788 h 51323"/>
                <a:gd name="connsiteX171" fmla="*/ 5840 w 51323"/>
                <a:gd name="connsiteY171" fmla="*/ 33494 h 51323"/>
                <a:gd name="connsiteX172" fmla="*/ 5840 w 51323"/>
                <a:gd name="connsiteY172" fmla="*/ 33580 h 51323"/>
                <a:gd name="connsiteX173" fmla="*/ 5840 w 51323"/>
                <a:gd name="connsiteY173" fmla="*/ 33477 h 51323"/>
                <a:gd name="connsiteX174" fmla="*/ 5840 w 51323"/>
                <a:gd name="connsiteY174" fmla="*/ 33614 h 51323"/>
                <a:gd name="connsiteX175" fmla="*/ 5222 w 51323"/>
                <a:gd name="connsiteY175" fmla="*/ 30299 h 51323"/>
                <a:gd name="connsiteX176" fmla="*/ 5222 w 51323"/>
                <a:gd name="connsiteY176" fmla="*/ 30042 h 51323"/>
                <a:gd name="connsiteX177" fmla="*/ 5222 w 51323"/>
                <a:gd name="connsiteY177" fmla="*/ 30128 h 51323"/>
                <a:gd name="connsiteX178" fmla="*/ 5067 w 51323"/>
                <a:gd name="connsiteY178" fmla="*/ 29784 h 51323"/>
                <a:gd name="connsiteX179" fmla="*/ 5067 w 51323"/>
                <a:gd name="connsiteY179" fmla="*/ 29784 h 51323"/>
                <a:gd name="connsiteX180" fmla="*/ 5067 w 51323"/>
                <a:gd name="connsiteY180" fmla="*/ 29784 h 51323"/>
                <a:gd name="connsiteX181" fmla="*/ 5067 w 51323"/>
                <a:gd name="connsiteY181" fmla="*/ 29544 h 51323"/>
                <a:gd name="connsiteX182" fmla="*/ 5067 w 51323"/>
                <a:gd name="connsiteY182" fmla="*/ 29715 h 51323"/>
                <a:gd name="connsiteX183" fmla="*/ 4844 w 51323"/>
                <a:gd name="connsiteY183" fmla="*/ 28908 h 51323"/>
                <a:gd name="connsiteX184" fmla="*/ 4844 w 51323"/>
                <a:gd name="connsiteY184" fmla="*/ 29183 h 51323"/>
                <a:gd name="connsiteX185" fmla="*/ 4552 w 51323"/>
                <a:gd name="connsiteY185" fmla="*/ 27843 h 51323"/>
                <a:gd name="connsiteX186" fmla="*/ 4552 w 51323"/>
                <a:gd name="connsiteY186" fmla="*/ 27740 h 51323"/>
                <a:gd name="connsiteX187" fmla="*/ 4552 w 51323"/>
                <a:gd name="connsiteY187" fmla="*/ 27740 h 51323"/>
                <a:gd name="connsiteX188" fmla="*/ 4552 w 51323"/>
                <a:gd name="connsiteY188" fmla="*/ 27740 h 51323"/>
                <a:gd name="connsiteX189" fmla="*/ 4552 w 51323"/>
                <a:gd name="connsiteY189" fmla="*/ 27740 h 51323"/>
                <a:gd name="connsiteX190" fmla="*/ 4208 w 51323"/>
                <a:gd name="connsiteY190" fmla="*/ 26297 h 51323"/>
                <a:gd name="connsiteX191" fmla="*/ 4208 w 51323"/>
                <a:gd name="connsiteY191" fmla="*/ 26503 h 51323"/>
                <a:gd name="connsiteX192" fmla="*/ 4208 w 51323"/>
                <a:gd name="connsiteY192" fmla="*/ 26297 h 51323"/>
                <a:gd name="connsiteX193" fmla="*/ 4208 w 51323"/>
                <a:gd name="connsiteY193" fmla="*/ 26297 h 51323"/>
                <a:gd name="connsiteX194" fmla="*/ 4208 w 51323"/>
                <a:gd name="connsiteY194" fmla="*/ 26297 h 51323"/>
                <a:gd name="connsiteX195" fmla="*/ 4208 w 51323"/>
                <a:gd name="connsiteY195" fmla="*/ 26297 h 51323"/>
                <a:gd name="connsiteX196" fmla="*/ 4208 w 51323"/>
                <a:gd name="connsiteY196" fmla="*/ 26297 h 51323"/>
                <a:gd name="connsiteX197" fmla="*/ 4208 w 51323"/>
                <a:gd name="connsiteY197" fmla="*/ 26400 h 51323"/>
                <a:gd name="connsiteX198" fmla="*/ 4208 w 51323"/>
                <a:gd name="connsiteY198" fmla="*/ 26400 h 51323"/>
                <a:gd name="connsiteX199" fmla="*/ 4208 w 51323"/>
                <a:gd name="connsiteY199" fmla="*/ 26400 h 51323"/>
                <a:gd name="connsiteX200" fmla="*/ 4208 w 51323"/>
                <a:gd name="connsiteY200" fmla="*/ 26400 h 51323"/>
                <a:gd name="connsiteX201" fmla="*/ 4208 w 51323"/>
                <a:gd name="connsiteY201" fmla="*/ 26091 h 51323"/>
                <a:gd name="connsiteX202" fmla="*/ 4208 w 51323"/>
                <a:gd name="connsiteY202" fmla="*/ 26091 h 51323"/>
                <a:gd name="connsiteX203" fmla="*/ 4208 w 51323"/>
                <a:gd name="connsiteY203" fmla="*/ 25919 h 51323"/>
                <a:gd name="connsiteX204" fmla="*/ 4208 w 51323"/>
                <a:gd name="connsiteY204" fmla="*/ 25919 h 51323"/>
                <a:gd name="connsiteX205" fmla="*/ 4208 w 51323"/>
                <a:gd name="connsiteY205" fmla="*/ 25198 h 51323"/>
                <a:gd name="connsiteX206" fmla="*/ 4208 w 51323"/>
                <a:gd name="connsiteY206" fmla="*/ 25198 h 51323"/>
                <a:gd name="connsiteX207" fmla="*/ 4208 w 51323"/>
                <a:gd name="connsiteY207" fmla="*/ 25078 h 51323"/>
                <a:gd name="connsiteX208" fmla="*/ 4208 w 51323"/>
                <a:gd name="connsiteY208" fmla="*/ 25078 h 51323"/>
                <a:gd name="connsiteX209" fmla="*/ 19787 w 51323"/>
                <a:gd name="connsiteY209" fmla="*/ 4706 h 51323"/>
                <a:gd name="connsiteX210" fmla="*/ 19787 w 51323"/>
                <a:gd name="connsiteY210" fmla="*/ 4706 h 51323"/>
                <a:gd name="connsiteX211" fmla="*/ 19994 w 51323"/>
                <a:gd name="connsiteY211" fmla="*/ 4706 h 51323"/>
                <a:gd name="connsiteX212" fmla="*/ 19994 w 51323"/>
                <a:gd name="connsiteY212" fmla="*/ 4706 h 51323"/>
                <a:gd name="connsiteX213" fmla="*/ 20217 w 51323"/>
                <a:gd name="connsiteY213" fmla="*/ 4706 h 51323"/>
                <a:gd name="connsiteX214" fmla="*/ 20062 w 51323"/>
                <a:gd name="connsiteY214" fmla="*/ 4706 h 51323"/>
                <a:gd name="connsiteX215" fmla="*/ 20337 w 51323"/>
                <a:gd name="connsiteY215" fmla="*/ 4706 h 51323"/>
                <a:gd name="connsiteX216" fmla="*/ 20234 w 51323"/>
                <a:gd name="connsiteY216" fmla="*/ 4706 h 51323"/>
                <a:gd name="connsiteX217" fmla="*/ 20234 w 51323"/>
                <a:gd name="connsiteY217" fmla="*/ 4706 h 51323"/>
                <a:gd name="connsiteX218" fmla="*/ 20423 w 51323"/>
                <a:gd name="connsiteY218" fmla="*/ 4706 h 51323"/>
                <a:gd name="connsiteX219" fmla="*/ 20423 w 51323"/>
                <a:gd name="connsiteY219" fmla="*/ 4706 h 51323"/>
                <a:gd name="connsiteX220" fmla="*/ 21711 w 51323"/>
                <a:gd name="connsiteY220" fmla="*/ 4414 h 51323"/>
                <a:gd name="connsiteX221" fmla="*/ 21711 w 51323"/>
                <a:gd name="connsiteY221" fmla="*/ 4414 h 51323"/>
                <a:gd name="connsiteX222" fmla="*/ 22038 w 51323"/>
                <a:gd name="connsiteY222" fmla="*/ 4414 h 51323"/>
                <a:gd name="connsiteX223" fmla="*/ 21814 w 51323"/>
                <a:gd name="connsiteY223" fmla="*/ 4414 h 51323"/>
                <a:gd name="connsiteX224" fmla="*/ 21814 w 51323"/>
                <a:gd name="connsiteY224" fmla="*/ 4414 h 51323"/>
                <a:gd name="connsiteX225" fmla="*/ 22415 w 51323"/>
                <a:gd name="connsiteY225" fmla="*/ 4414 h 51323"/>
                <a:gd name="connsiteX226" fmla="*/ 22415 w 51323"/>
                <a:gd name="connsiteY226" fmla="*/ 4414 h 51323"/>
                <a:gd name="connsiteX227" fmla="*/ 22106 w 51323"/>
                <a:gd name="connsiteY227" fmla="*/ 4414 h 51323"/>
                <a:gd name="connsiteX228" fmla="*/ 22398 w 51323"/>
                <a:gd name="connsiteY228" fmla="*/ 4414 h 51323"/>
                <a:gd name="connsiteX229" fmla="*/ 22398 w 51323"/>
                <a:gd name="connsiteY229" fmla="*/ 4414 h 51323"/>
                <a:gd name="connsiteX230" fmla="*/ 22690 w 51323"/>
                <a:gd name="connsiteY230" fmla="*/ 4414 h 51323"/>
                <a:gd name="connsiteX231" fmla="*/ 22587 w 51323"/>
                <a:gd name="connsiteY231" fmla="*/ 4414 h 51323"/>
                <a:gd name="connsiteX232" fmla="*/ 22484 w 51323"/>
                <a:gd name="connsiteY232" fmla="*/ 4414 h 51323"/>
                <a:gd name="connsiteX233" fmla="*/ 22725 w 51323"/>
                <a:gd name="connsiteY233" fmla="*/ 4414 h 51323"/>
                <a:gd name="connsiteX234" fmla="*/ 22347 w 51323"/>
                <a:gd name="connsiteY234" fmla="*/ 4414 h 51323"/>
                <a:gd name="connsiteX235" fmla="*/ 22244 w 51323"/>
                <a:gd name="connsiteY235" fmla="*/ 4414 h 51323"/>
                <a:gd name="connsiteX236" fmla="*/ 22055 w 51323"/>
                <a:gd name="connsiteY236" fmla="*/ 4414 h 51323"/>
                <a:gd name="connsiteX237" fmla="*/ 22415 w 51323"/>
                <a:gd name="connsiteY237" fmla="*/ 4414 h 51323"/>
                <a:gd name="connsiteX238" fmla="*/ 22020 w 51323"/>
                <a:gd name="connsiteY238" fmla="*/ 4414 h 51323"/>
                <a:gd name="connsiteX239" fmla="*/ 22020 w 51323"/>
                <a:gd name="connsiteY239" fmla="*/ 4414 h 51323"/>
                <a:gd name="connsiteX240" fmla="*/ 21608 w 51323"/>
                <a:gd name="connsiteY240" fmla="*/ 4414 h 51323"/>
                <a:gd name="connsiteX241" fmla="*/ 21608 w 51323"/>
                <a:gd name="connsiteY241" fmla="*/ 4414 h 51323"/>
                <a:gd name="connsiteX242" fmla="*/ 21213 w 51323"/>
                <a:gd name="connsiteY242" fmla="*/ 4500 h 51323"/>
                <a:gd name="connsiteX243" fmla="*/ 21385 w 51323"/>
                <a:gd name="connsiteY243" fmla="*/ 4500 h 51323"/>
                <a:gd name="connsiteX244" fmla="*/ 21385 w 51323"/>
                <a:gd name="connsiteY244" fmla="*/ 4500 h 51323"/>
                <a:gd name="connsiteX245" fmla="*/ 20973 w 51323"/>
                <a:gd name="connsiteY245" fmla="*/ 4586 h 51323"/>
                <a:gd name="connsiteX246" fmla="*/ 21144 w 51323"/>
                <a:gd name="connsiteY246" fmla="*/ 4586 h 51323"/>
                <a:gd name="connsiteX247" fmla="*/ 20955 w 51323"/>
                <a:gd name="connsiteY247" fmla="*/ 4586 h 51323"/>
                <a:gd name="connsiteX248" fmla="*/ 20955 w 51323"/>
                <a:gd name="connsiteY248" fmla="*/ 4586 h 51323"/>
                <a:gd name="connsiteX249" fmla="*/ 20835 w 51323"/>
                <a:gd name="connsiteY249" fmla="*/ 4586 h 51323"/>
                <a:gd name="connsiteX250" fmla="*/ 20835 w 51323"/>
                <a:gd name="connsiteY250" fmla="*/ 4586 h 51323"/>
                <a:gd name="connsiteX251" fmla="*/ 20835 w 51323"/>
                <a:gd name="connsiteY251" fmla="*/ 4586 h 51323"/>
                <a:gd name="connsiteX252" fmla="*/ 20835 w 51323"/>
                <a:gd name="connsiteY252" fmla="*/ 4586 h 51323"/>
                <a:gd name="connsiteX253" fmla="*/ 20835 w 51323"/>
                <a:gd name="connsiteY253" fmla="*/ 4586 h 51323"/>
                <a:gd name="connsiteX254" fmla="*/ 20663 w 51323"/>
                <a:gd name="connsiteY254" fmla="*/ 4586 h 51323"/>
                <a:gd name="connsiteX255" fmla="*/ 20663 w 51323"/>
                <a:gd name="connsiteY255" fmla="*/ 4586 h 51323"/>
                <a:gd name="connsiteX256" fmla="*/ 20663 w 51323"/>
                <a:gd name="connsiteY256" fmla="*/ 4586 h 51323"/>
                <a:gd name="connsiteX257" fmla="*/ 20663 w 51323"/>
                <a:gd name="connsiteY257" fmla="*/ 4586 h 51323"/>
                <a:gd name="connsiteX258" fmla="*/ 20560 w 51323"/>
                <a:gd name="connsiteY258" fmla="*/ 4586 h 51323"/>
                <a:gd name="connsiteX259" fmla="*/ 20560 w 51323"/>
                <a:gd name="connsiteY259" fmla="*/ 4586 h 51323"/>
                <a:gd name="connsiteX260" fmla="*/ 20114 w 51323"/>
                <a:gd name="connsiteY260" fmla="*/ 4706 h 51323"/>
                <a:gd name="connsiteX261" fmla="*/ 20114 w 51323"/>
                <a:gd name="connsiteY261" fmla="*/ 4706 h 51323"/>
                <a:gd name="connsiteX262" fmla="*/ 19787 w 51323"/>
                <a:gd name="connsiteY262" fmla="*/ 4827 h 51323"/>
                <a:gd name="connsiteX263" fmla="*/ 19787 w 51323"/>
                <a:gd name="connsiteY263" fmla="*/ 4827 h 51323"/>
                <a:gd name="connsiteX264" fmla="*/ 19392 w 51323"/>
                <a:gd name="connsiteY264" fmla="*/ 4947 h 51323"/>
                <a:gd name="connsiteX265" fmla="*/ 19392 w 51323"/>
                <a:gd name="connsiteY265" fmla="*/ 4947 h 51323"/>
                <a:gd name="connsiteX266" fmla="*/ 19100 w 51323"/>
                <a:gd name="connsiteY266" fmla="*/ 5153 h 51323"/>
                <a:gd name="connsiteX267" fmla="*/ 19100 w 51323"/>
                <a:gd name="connsiteY267" fmla="*/ 5153 h 51323"/>
                <a:gd name="connsiteX268" fmla="*/ 18997 w 51323"/>
                <a:gd name="connsiteY268" fmla="*/ 5153 h 51323"/>
                <a:gd name="connsiteX269" fmla="*/ 18997 w 51323"/>
                <a:gd name="connsiteY269" fmla="*/ 5153 h 51323"/>
                <a:gd name="connsiteX270" fmla="*/ 18430 w 51323"/>
                <a:gd name="connsiteY270" fmla="*/ 5359 h 51323"/>
                <a:gd name="connsiteX271" fmla="*/ 18568 w 51323"/>
                <a:gd name="connsiteY271" fmla="*/ 5359 h 51323"/>
                <a:gd name="connsiteX272" fmla="*/ 18568 w 51323"/>
                <a:gd name="connsiteY272" fmla="*/ 5359 h 51323"/>
                <a:gd name="connsiteX273" fmla="*/ 19169 w 51323"/>
                <a:gd name="connsiteY273" fmla="*/ 5187 h 51323"/>
                <a:gd name="connsiteX274" fmla="*/ 19169 w 51323"/>
                <a:gd name="connsiteY274" fmla="*/ 5187 h 51323"/>
                <a:gd name="connsiteX275" fmla="*/ 19341 w 51323"/>
                <a:gd name="connsiteY275" fmla="*/ 5187 h 51323"/>
                <a:gd name="connsiteX276" fmla="*/ 19461 w 51323"/>
                <a:gd name="connsiteY276" fmla="*/ 5187 h 51323"/>
                <a:gd name="connsiteX277" fmla="*/ 19186 w 51323"/>
                <a:gd name="connsiteY277" fmla="*/ 5187 h 51323"/>
                <a:gd name="connsiteX278" fmla="*/ 19186 w 51323"/>
                <a:gd name="connsiteY278" fmla="*/ 5187 h 51323"/>
                <a:gd name="connsiteX279" fmla="*/ 19032 w 51323"/>
                <a:gd name="connsiteY279" fmla="*/ 5187 h 51323"/>
                <a:gd name="connsiteX280" fmla="*/ 19032 w 51323"/>
                <a:gd name="connsiteY280" fmla="*/ 5187 h 51323"/>
                <a:gd name="connsiteX281" fmla="*/ 18911 w 51323"/>
                <a:gd name="connsiteY281" fmla="*/ 5187 h 51323"/>
                <a:gd name="connsiteX282" fmla="*/ 18911 w 51323"/>
                <a:gd name="connsiteY282" fmla="*/ 5187 h 51323"/>
                <a:gd name="connsiteX283" fmla="*/ 18740 w 51323"/>
                <a:gd name="connsiteY283" fmla="*/ 5187 h 51323"/>
                <a:gd name="connsiteX284" fmla="*/ 18740 w 51323"/>
                <a:gd name="connsiteY284" fmla="*/ 5187 h 51323"/>
                <a:gd name="connsiteX285" fmla="*/ 18894 w 51323"/>
                <a:gd name="connsiteY285" fmla="*/ 5187 h 51323"/>
                <a:gd name="connsiteX286" fmla="*/ 18894 w 51323"/>
                <a:gd name="connsiteY286" fmla="*/ 5187 h 51323"/>
                <a:gd name="connsiteX287" fmla="*/ 19049 w 51323"/>
                <a:gd name="connsiteY287" fmla="*/ 5187 h 51323"/>
                <a:gd name="connsiteX288" fmla="*/ 19049 w 51323"/>
                <a:gd name="connsiteY288" fmla="*/ 5187 h 51323"/>
                <a:gd name="connsiteX289" fmla="*/ 18860 w 51323"/>
                <a:gd name="connsiteY289" fmla="*/ 5187 h 51323"/>
                <a:gd name="connsiteX290" fmla="*/ 19032 w 51323"/>
                <a:gd name="connsiteY290" fmla="*/ 5187 h 51323"/>
                <a:gd name="connsiteX291" fmla="*/ 19186 w 51323"/>
                <a:gd name="connsiteY291" fmla="*/ 5187 h 51323"/>
                <a:gd name="connsiteX292" fmla="*/ 19289 w 51323"/>
                <a:gd name="connsiteY292" fmla="*/ 5187 h 51323"/>
                <a:gd name="connsiteX293" fmla="*/ 19650 w 51323"/>
                <a:gd name="connsiteY293" fmla="*/ 5084 h 51323"/>
                <a:gd name="connsiteX294" fmla="*/ 18482 w 51323"/>
                <a:gd name="connsiteY294" fmla="*/ 5497 h 51323"/>
                <a:gd name="connsiteX295" fmla="*/ 18654 w 51323"/>
                <a:gd name="connsiteY295" fmla="*/ 5497 h 51323"/>
                <a:gd name="connsiteX296" fmla="*/ 18654 w 51323"/>
                <a:gd name="connsiteY296" fmla="*/ 5497 h 51323"/>
                <a:gd name="connsiteX297" fmla="*/ 18740 w 51323"/>
                <a:gd name="connsiteY297" fmla="*/ 5497 h 51323"/>
                <a:gd name="connsiteX298" fmla="*/ 18894 w 51323"/>
                <a:gd name="connsiteY298" fmla="*/ 5497 h 51323"/>
                <a:gd name="connsiteX299" fmla="*/ 18894 w 51323"/>
                <a:gd name="connsiteY299" fmla="*/ 5497 h 51323"/>
                <a:gd name="connsiteX300" fmla="*/ 19032 w 51323"/>
                <a:gd name="connsiteY300" fmla="*/ 5497 h 51323"/>
                <a:gd name="connsiteX301" fmla="*/ 18722 w 51323"/>
                <a:gd name="connsiteY301" fmla="*/ 5617 h 51323"/>
                <a:gd name="connsiteX302" fmla="*/ 18722 w 51323"/>
                <a:gd name="connsiteY302" fmla="*/ 5617 h 51323"/>
                <a:gd name="connsiteX303" fmla="*/ 18585 w 51323"/>
                <a:gd name="connsiteY303" fmla="*/ 5617 h 51323"/>
                <a:gd name="connsiteX304" fmla="*/ 18585 w 51323"/>
                <a:gd name="connsiteY304" fmla="*/ 5617 h 51323"/>
                <a:gd name="connsiteX305" fmla="*/ 18413 w 51323"/>
                <a:gd name="connsiteY305" fmla="*/ 5617 h 51323"/>
                <a:gd name="connsiteX306" fmla="*/ 18688 w 51323"/>
                <a:gd name="connsiteY306" fmla="*/ 5617 h 51323"/>
                <a:gd name="connsiteX307" fmla="*/ 17743 w 51323"/>
                <a:gd name="connsiteY307" fmla="*/ 6098 h 51323"/>
                <a:gd name="connsiteX308" fmla="*/ 17743 w 51323"/>
                <a:gd name="connsiteY308" fmla="*/ 6098 h 51323"/>
                <a:gd name="connsiteX309" fmla="*/ 17554 w 51323"/>
                <a:gd name="connsiteY309" fmla="*/ 6201 h 51323"/>
                <a:gd name="connsiteX310" fmla="*/ 17743 w 51323"/>
                <a:gd name="connsiteY310" fmla="*/ 6201 h 51323"/>
                <a:gd name="connsiteX311" fmla="*/ 17743 w 51323"/>
                <a:gd name="connsiteY311" fmla="*/ 6201 h 51323"/>
                <a:gd name="connsiteX312" fmla="*/ 17743 w 51323"/>
                <a:gd name="connsiteY312" fmla="*/ 6201 h 51323"/>
                <a:gd name="connsiteX313" fmla="*/ 17159 w 51323"/>
                <a:gd name="connsiteY313" fmla="*/ 6476 h 51323"/>
                <a:gd name="connsiteX314" fmla="*/ 17159 w 51323"/>
                <a:gd name="connsiteY314" fmla="*/ 6476 h 51323"/>
                <a:gd name="connsiteX315" fmla="*/ 17039 w 51323"/>
                <a:gd name="connsiteY315" fmla="*/ 6476 h 51323"/>
                <a:gd name="connsiteX316" fmla="*/ 17039 w 51323"/>
                <a:gd name="connsiteY316" fmla="*/ 6476 h 51323"/>
                <a:gd name="connsiteX317" fmla="*/ 16867 w 51323"/>
                <a:gd name="connsiteY317" fmla="*/ 6579 h 51323"/>
                <a:gd name="connsiteX318" fmla="*/ 16867 w 51323"/>
                <a:gd name="connsiteY318" fmla="*/ 6579 h 51323"/>
                <a:gd name="connsiteX319" fmla="*/ 16730 w 51323"/>
                <a:gd name="connsiteY319" fmla="*/ 6716 h 51323"/>
                <a:gd name="connsiteX320" fmla="*/ 16730 w 51323"/>
                <a:gd name="connsiteY320" fmla="*/ 6716 h 51323"/>
                <a:gd name="connsiteX321" fmla="*/ 16730 w 51323"/>
                <a:gd name="connsiteY321" fmla="*/ 6716 h 51323"/>
                <a:gd name="connsiteX322" fmla="*/ 16730 w 51323"/>
                <a:gd name="connsiteY322" fmla="*/ 6716 h 51323"/>
                <a:gd name="connsiteX323" fmla="*/ 16730 w 51323"/>
                <a:gd name="connsiteY323" fmla="*/ 6716 h 51323"/>
                <a:gd name="connsiteX324" fmla="*/ 16885 w 51323"/>
                <a:gd name="connsiteY324" fmla="*/ 6716 h 51323"/>
                <a:gd name="connsiteX325" fmla="*/ 16627 w 51323"/>
                <a:gd name="connsiteY325" fmla="*/ 6853 h 51323"/>
                <a:gd name="connsiteX326" fmla="*/ 16627 w 51323"/>
                <a:gd name="connsiteY326" fmla="*/ 6853 h 51323"/>
                <a:gd name="connsiteX327" fmla="*/ 16386 w 51323"/>
                <a:gd name="connsiteY327" fmla="*/ 6991 h 51323"/>
                <a:gd name="connsiteX328" fmla="*/ 16558 w 51323"/>
                <a:gd name="connsiteY328" fmla="*/ 6991 h 51323"/>
                <a:gd name="connsiteX329" fmla="*/ 16077 w 51323"/>
                <a:gd name="connsiteY329" fmla="*/ 7266 h 51323"/>
                <a:gd name="connsiteX330" fmla="*/ 16077 w 51323"/>
                <a:gd name="connsiteY330" fmla="*/ 7266 h 51323"/>
                <a:gd name="connsiteX331" fmla="*/ 16077 w 51323"/>
                <a:gd name="connsiteY331" fmla="*/ 7266 h 51323"/>
                <a:gd name="connsiteX332" fmla="*/ 16833 w 51323"/>
                <a:gd name="connsiteY332" fmla="*/ 6888 h 51323"/>
                <a:gd name="connsiteX333" fmla="*/ 16833 w 51323"/>
                <a:gd name="connsiteY333" fmla="*/ 6888 h 51323"/>
                <a:gd name="connsiteX334" fmla="*/ 16833 w 51323"/>
                <a:gd name="connsiteY334" fmla="*/ 6888 h 51323"/>
                <a:gd name="connsiteX335" fmla="*/ 16833 w 51323"/>
                <a:gd name="connsiteY335" fmla="*/ 6888 h 51323"/>
                <a:gd name="connsiteX336" fmla="*/ 16936 w 51323"/>
                <a:gd name="connsiteY336" fmla="*/ 6888 h 51323"/>
                <a:gd name="connsiteX337" fmla="*/ 16833 w 51323"/>
                <a:gd name="connsiteY337" fmla="*/ 6888 h 51323"/>
                <a:gd name="connsiteX338" fmla="*/ 17056 w 51323"/>
                <a:gd name="connsiteY338" fmla="*/ 6785 h 51323"/>
                <a:gd name="connsiteX339" fmla="*/ 17056 w 51323"/>
                <a:gd name="connsiteY339" fmla="*/ 6785 h 51323"/>
                <a:gd name="connsiteX340" fmla="*/ 17159 w 51323"/>
                <a:gd name="connsiteY340" fmla="*/ 6785 h 51323"/>
                <a:gd name="connsiteX341" fmla="*/ 17039 w 51323"/>
                <a:gd name="connsiteY341" fmla="*/ 6785 h 51323"/>
                <a:gd name="connsiteX342" fmla="*/ 17142 w 51323"/>
                <a:gd name="connsiteY342" fmla="*/ 6785 h 51323"/>
                <a:gd name="connsiteX343" fmla="*/ 17022 w 51323"/>
                <a:gd name="connsiteY343" fmla="*/ 6785 h 51323"/>
                <a:gd name="connsiteX344" fmla="*/ 17022 w 51323"/>
                <a:gd name="connsiteY344" fmla="*/ 6785 h 51323"/>
                <a:gd name="connsiteX345" fmla="*/ 16885 w 51323"/>
                <a:gd name="connsiteY345" fmla="*/ 6785 h 51323"/>
                <a:gd name="connsiteX346" fmla="*/ 17005 w 51323"/>
                <a:gd name="connsiteY346" fmla="*/ 6785 h 51323"/>
                <a:gd name="connsiteX347" fmla="*/ 17314 w 51323"/>
                <a:gd name="connsiteY347" fmla="*/ 6785 h 51323"/>
                <a:gd name="connsiteX348" fmla="*/ 17314 w 51323"/>
                <a:gd name="connsiteY348" fmla="*/ 6785 h 51323"/>
                <a:gd name="connsiteX349" fmla="*/ 16696 w 51323"/>
                <a:gd name="connsiteY349" fmla="*/ 7145 h 51323"/>
                <a:gd name="connsiteX350" fmla="*/ 16696 w 51323"/>
                <a:gd name="connsiteY350" fmla="*/ 7145 h 51323"/>
                <a:gd name="connsiteX351" fmla="*/ 16696 w 51323"/>
                <a:gd name="connsiteY351" fmla="*/ 7145 h 51323"/>
                <a:gd name="connsiteX352" fmla="*/ 16696 w 51323"/>
                <a:gd name="connsiteY352" fmla="*/ 7145 h 51323"/>
                <a:gd name="connsiteX353" fmla="*/ 16696 w 51323"/>
                <a:gd name="connsiteY353" fmla="*/ 7145 h 51323"/>
                <a:gd name="connsiteX354" fmla="*/ 16696 w 51323"/>
                <a:gd name="connsiteY354" fmla="*/ 7145 h 51323"/>
                <a:gd name="connsiteX355" fmla="*/ 16696 w 51323"/>
                <a:gd name="connsiteY355" fmla="*/ 7145 h 51323"/>
                <a:gd name="connsiteX356" fmla="*/ 16455 w 51323"/>
                <a:gd name="connsiteY356" fmla="*/ 7300 h 51323"/>
                <a:gd name="connsiteX357" fmla="*/ 16455 w 51323"/>
                <a:gd name="connsiteY357" fmla="*/ 7300 h 51323"/>
                <a:gd name="connsiteX358" fmla="*/ 16455 w 51323"/>
                <a:gd name="connsiteY358" fmla="*/ 7386 h 51323"/>
                <a:gd name="connsiteX359" fmla="*/ 16610 w 51323"/>
                <a:gd name="connsiteY359" fmla="*/ 7386 h 51323"/>
                <a:gd name="connsiteX360" fmla="*/ 16610 w 51323"/>
                <a:gd name="connsiteY360" fmla="*/ 7386 h 51323"/>
                <a:gd name="connsiteX361" fmla="*/ 16610 w 51323"/>
                <a:gd name="connsiteY361" fmla="*/ 7489 h 51323"/>
                <a:gd name="connsiteX362" fmla="*/ 16610 w 51323"/>
                <a:gd name="connsiteY362" fmla="*/ 7489 h 51323"/>
                <a:gd name="connsiteX363" fmla="*/ 16610 w 51323"/>
                <a:gd name="connsiteY363" fmla="*/ 7489 h 51323"/>
                <a:gd name="connsiteX364" fmla="*/ 16610 w 51323"/>
                <a:gd name="connsiteY364" fmla="*/ 7592 h 51323"/>
                <a:gd name="connsiteX365" fmla="*/ 16970 w 51323"/>
                <a:gd name="connsiteY365" fmla="*/ 7334 h 51323"/>
                <a:gd name="connsiteX366" fmla="*/ 16970 w 51323"/>
                <a:gd name="connsiteY366" fmla="*/ 7334 h 51323"/>
                <a:gd name="connsiteX367" fmla="*/ 17108 w 51323"/>
                <a:gd name="connsiteY367" fmla="*/ 7334 h 51323"/>
                <a:gd name="connsiteX368" fmla="*/ 17245 w 51323"/>
                <a:gd name="connsiteY368" fmla="*/ 7334 h 51323"/>
                <a:gd name="connsiteX369" fmla="*/ 17142 w 51323"/>
                <a:gd name="connsiteY369" fmla="*/ 7334 h 51323"/>
                <a:gd name="connsiteX370" fmla="*/ 17142 w 51323"/>
                <a:gd name="connsiteY370" fmla="*/ 7334 h 51323"/>
                <a:gd name="connsiteX371" fmla="*/ 16988 w 51323"/>
                <a:gd name="connsiteY371" fmla="*/ 7437 h 51323"/>
                <a:gd name="connsiteX372" fmla="*/ 16988 w 51323"/>
                <a:gd name="connsiteY372" fmla="*/ 7437 h 51323"/>
                <a:gd name="connsiteX373" fmla="*/ 16867 w 51323"/>
                <a:gd name="connsiteY373" fmla="*/ 7437 h 51323"/>
                <a:gd name="connsiteX374" fmla="*/ 16610 w 51323"/>
                <a:gd name="connsiteY374" fmla="*/ 7575 h 51323"/>
                <a:gd name="connsiteX375" fmla="*/ 16610 w 51323"/>
                <a:gd name="connsiteY375" fmla="*/ 7575 h 51323"/>
                <a:gd name="connsiteX376" fmla="*/ 16421 w 51323"/>
                <a:gd name="connsiteY376" fmla="*/ 7678 h 51323"/>
                <a:gd name="connsiteX377" fmla="*/ 16421 w 51323"/>
                <a:gd name="connsiteY377" fmla="*/ 7678 h 51323"/>
                <a:gd name="connsiteX378" fmla="*/ 16283 w 51323"/>
                <a:gd name="connsiteY378" fmla="*/ 7678 h 51323"/>
                <a:gd name="connsiteX379" fmla="*/ 16283 w 51323"/>
                <a:gd name="connsiteY379" fmla="*/ 7678 h 51323"/>
                <a:gd name="connsiteX380" fmla="*/ 16283 w 51323"/>
                <a:gd name="connsiteY380" fmla="*/ 7678 h 51323"/>
                <a:gd name="connsiteX381" fmla="*/ 16129 w 51323"/>
                <a:gd name="connsiteY381" fmla="*/ 7678 h 51323"/>
                <a:gd name="connsiteX382" fmla="*/ 16129 w 51323"/>
                <a:gd name="connsiteY382" fmla="*/ 7678 h 51323"/>
                <a:gd name="connsiteX383" fmla="*/ 16129 w 51323"/>
                <a:gd name="connsiteY383" fmla="*/ 7678 h 51323"/>
                <a:gd name="connsiteX384" fmla="*/ 16129 w 51323"/>
                <a:gd name="connsiteY384" fmla="*/ 7678 h 51323"/>
                <a:gd name="connsiteX385" fmla="*/ 15820 w 51323"/>
                <a:gd name="connsiteY385" fmla="*/ 7867 h 51323"/>
                <a:gd name="connsiteX386" fmla="*/ 16043 w 51323"/>
                <a:gd name="connsiteY386" fmla="*/ 7747 h 51323"/>
                <a:gd name="connsiteX387" fmla="*/ 16043 w 51323"/>
                <a:gd name="connsiteY387" fmla="*/ 7747 h 51323"/>
                <a:gd name="connsiteX388" fmla="*/ 16318 w 51323"/>
                <a:gd name="connsiteY388" fmla="*/ 7644 h 51323"/>
                <a:gd name="connsiteX389" fmla="*/ 16198 w 51323"/>
                <a:gd name="connsiteY389" fmla="*/ 7644 h 51323"/>
                <a:gd name="connsiteX390" fmla="*/ 16747 w 51323"/>
                <a:gd name="connsiteY390" fmla="*/ 7352 h 51323"/>
                <a:gd name="connsiteX391" fmla="*/ 16747 w 51323"/>
                <a:gd name="connsiteY391" fmla="*/ 7352 h 51323"/>
                <a:gd name="connsiteX392" fmla="*/ 16747 w 51323"/>
                <a:gd name="connsiteY392" fmla="*/ 7352 h 51323"/>
                <a:gd name="connsiteX393" fmla="*/ 17400 w 51323"/>
                <a:gd name="connsiteY393" fmla="*/ 7077 h 51323"/>
                <a:gd name="connsiteX394" fmla="*/ 17262 w 51323"/>
                <a:gd name="connsiteY394" fmla="*/ 7077 h 51323"/>
                <a:gd name="connsiteX395" fmla="*/ 17262 w 51323"/>
                <a:gd name="connsiteY395" fmla="*/ 7077 h 51323"/>
                <a:gd name="connsiteX396" fmla="*/ 17520 w 51323"/>
                <a:gd name="connsiteY396" fmla="*/ 6991 h 51323"/>
                <a:gd name="connsiteX397" fmla="*/ 17846 w 51323"/>
                <a:gd name="connsiteY397" fmla="*/ 6768 h 51323"/>
                <a:gd name="connsiteX398" fmla="*/ 17846 w 51323"/>
                <a:gd name="connsiteY398" fmla="*/ 6768 h 51323"/>
                <a:gd name="connsiteX399" fmla="*/ 17846 w 51323"/>
                <a:gd name="connsiteY399" fmla="*/ 6768 h 51323"/>
                <a:gd name="connsiteX400" fmla="*/ 18482 w 51323"/>
                <a:gd name="connsiteY400" fmla="*/ 6476 h 51323"/>
                <a:gd name="connsiteX401" fmla="*/ 18482 w 51323"/>
                <a:gd name="connsiteY401" fmla="*/ 6476 h 51323"/>
                <a:gd name="connsiteX402" fmla="*/ 19066 w 51323"/>
                <a:gd name="connsiteY402" fmla="*/ 6235 h 51323"/>
                <a:gd name="connsiteX403" fmla="*/ 18911 w 51323"/>
                <a:gd name="connsiteY403" fmla="*/ 6321 h 51323"/>
                <a:gd name="connsiteX404" fmla="*/ 19427 w 51323"/>
                <a:gd name="connsiteY404" fmla="*/ 6115 h 51323"/>
                <a:gd name="connsiteX405" fmla="*/ 19238 w 51323"/>
                <a:gd name="connsiteY405" fmla="*/ 6252 h 51323"/>
                <a:gd name="connsiteX406" fmla="*/ 20303 w 51323"/>
                <a:gd name="connsiteY406" fmla="*/ 5909 h 51323"/>
                <a:gd name="connsiteX407" fmla="*/ 21024 w 51323"/>
                <a:gd name="connsiteY407" fmla="*/ 5651 h 51323"/>
                <a:gd name="connsiteX408" fmla="*/ 20303 w 51323"/>
                <a:gd name="connsiteY408" fmla="*/ 6149 h 51323"/>
                <a:gd name="connsiteX409" fmla="*/ 20303 w 51323"/>
                <a:gd name="connsiteY409" fmla="*/ 6149 h 51323"/>
                <a:gd name="connsiteX410" fmla="*/ 20406 w 51323"/>
                <a:gd name="connsiteY410" fmla="*/ 6149 h 51323"/>
                <a:gd name="connsiteX411" fmla="*/ 20492 w 51323"/>
                <a:gd name="connsiteY411" fmla="*/ 6235 h 51323"/>
                <a:gd name="connsiteX412" fmla="*/ 20354 w 51323"/>
                <a:gd name="connsiteY412" fmla="*/ 6235 h 51323"/>
                <a:gd name="connsiteX413" fmla="*/ 20165 w 51323"/>
                <a:gd name="connsiteY413" fmla="*/ 6355 h 51323"/>
                <a:gd name="connsiteX414" fmla="*/ 20337 w 51323"/>
                <a:gd name="connsiteY414" fmla="*/ 6355 h 51323"/>
                <a:gd name="connsiteX415" fmla="*/ 19856 w 51323"/>
                <a:gd name="connsiteY415" fmla="*/ 6716 h 51323"/>
                <a:gd name="connsiteX416" fmla="*/ 20097 w 51323"/>
                <a:gd name="connsiteY416" fmla="*/ 6716 h 51323"/>
                <a:gd name="connsiteX417" fmla="*/ 19667 w 51323"/>
                <a:gd name="connsiteY417" fmla="*/ 6939 h 51323"/>
                <a:gd name="connsiteX418" fmla="*/ 19495 w 51323"/>
                <a:gd name="connsiteY418" fmla="*/ 7145 h 51323"/>
                <a:gd name="connsiteX419" fmla="*/ 19358 w 51323"/>
                <a:gd name="connsiteY419" fmla="*/ 7266 h 51323"/>
                <a:gd name="connsiteX420" fmla="*/ 19358 w 51323"/>
                <a:gd name="connsiteY420" fmla="*/ 7352 h 51323"/>
                <a:gd name="connsiteX421" fmla="*/ 19358 w 51323"/>
                <a:gd name="connsiteY421" fmla="*/ 7523 h 51323"/>
                <a:gd name="connsiteX422" fmla="*/ 19049 w 51323"/>
                <a:gd name="connsiteY422" fmla="*/ 7626 h 51323"/>
                <a:gd name="connsiteX423" fmla="*/ 18860 w 51323"/>
                <a:gd name="connsiteY423" fmla="*/ 7918 h 51323"/>
                <a:gd name="connsiteX424" fmla="*/ 18860 w 51323"/>
                <a:gd name="connsiteY424" fmla="*/ 8039 h 51323"/>
                <a:gd name="connsiteX425" fmla="*/ 18705 w 51323"/>
                <a:gd name="connsiteY425" fmla="*/ 8399 h 51323"/>
                <a:gd name="connsiteX426" fmla="*/ 18551 w 51323"/>
                <a:gd name="connsiteY426" fmla="*/ 8588 h 51323"/>
                <a:gd name="connsiteX427" fmla="*/ 18396 w 51323"/>
                <a:gd name="connsiteY427" fmla="*/ 8829 h 51323"/>
                <a:gd name="connsiteX428" fmla="*/ 18190 w 51323"/>
                <a:gd name="connsiteY428" fmla="*/ 8966 h 51323"/>
                <a:gd name="connsiteX429" fmla="*/ 18190 w 51323"/>
                <a:gd name="connsiteY429" fmla="*/ 8966 h 51323"/>
                <a:gd name="connsiteX430" fmla="*/ 17846 w 51323"/>
                <a:gd name="connsiteY430" fmla="*/ 9155 h 51323"/>
                <a:gd name="connsiteX431" fmla="*/ 18224 w 51323"/>
                <a:gd name="connsiteY431" fmla="*/ 8605 h 51323"/>
                <a:gd name="connsiteX432" fmla="*/ 18224 w 51323"/>
                <a:gd name="connsiteY432" fmla="*/ 8434 h 51323"/>
                <a:gd name="connsiteX433" fmla="*/ 18053 w 51323"/>
                <a:gd name="connsiteY433" fmla="*/ 8434 h 51323"/>
                <a:gd name="connsiteX434" fmla="*/ 17486 w 51323"/>
                <a:gd name="connsiteY434" fmla="*/ 9155 h 51323"/>
                <a:gd name="connsiteX435" fmla="*/ 16747 w 51323"/>
                <a:gd name="connsiteY435" fmla="*/ 9842 h 51323"/>
                <a:gd name="connsiteX436" fmla="*/ 16747 w 51323"/>
                <a:gd name="connsiteY436" fmla="*/ 9396 h 51323"/>
                <a:gd name="connsiteX437" fmla="*/ 16524 w 51323"/>
                <a:gd name="connsiteY437" fmla="*/ 10306 h 51323"/>
                <a:gd name="connsiteX438" fmla="*/ 16799 w 51323"/>
                <a:gd name="connsiteY438" fmla="*/ 9069 h 51323"/>
                <a:gd name="connsiteX439" fmla="*/ 16558 w 51323"/>
                <a:gd name="connsiteY439" fmla="*/ 9069 h 51323"/>
                <a:gd name="connsiteX440" fmla="*/ 16301 w 51323"/>
                <a:gd name="connsiteY440" fmla="*/ 9069 h 51323"/>
                <a:gd name="connsiteX441" fmla="*/ 16850 w 51323"/>
                <a:gd name="connsiteY441" fmla="*/ 8794 h 51323"/>
                <a:gd name="connsiteX442" fmla="*/ 19530 w 51323"/>
                <a:gd name="connsiteY442" fmla="*/ 6733 h 51323"/>
                <a:gd name="connsiteX443" fmla="*/ 18980 w 51323"/>
                <a:gd name="connsiteY443" fmla="*/ 6733 h 51323"/>
                <a:gd name="connsiteX444" fmla="*/ 18980 w 51323"/>
                <a:gd name="connsiteY444" fmla="*/ 6561 h 51323"/>
                <a:gd name="connsiteX445" fmla="*/ 18980 w 51323"/>
                <a:gd name="connsiteY445" fmla="*/ 6373 h 51323"/>
                <a:gd name="connsiteX446" fmla="*/ 19083 w 51323"/>
                <a:gd name="connsiteY446" fmla="*/ 6373 h 51323"/>
                <a:gd name="connsiteX447" fmla="*/ 18929 w 51323"/>
                <a:gd name="connsiteY447" fmla="*/ 6458 h 51323"/>
                <a:gd name="connsiteX448" fmla="*/ 18173 w 51323"/>
                <a:gd name="connsiteY448" fmla="*/ 6871 h 51323"/>
                <a:gd name="connsiteX449" fmla="*/ 18173 w 51323"/>
                <a:gd name="connsiteY449" fmla="*/ 6871 h 51323"/>
                <a:gd name="connsiteX450" fmla="*/ 18293 w 51323"/>
                <a:gd name="connsiteY450" fmla="*/ 6871 h 51323"/>
                <a:gd name="connsiteX451" fmla="*/ 18242 w 51323"/>
                <a:gd name="connsiteY451" fmla="*/ 6871 h 51323"/>
                <a:gd name="connsiteX452" fmla="*/ 18242 w 51323"/>
                <a:gd name="connsiteY452" fmla="*/ 6871 h 51323"/>
                <a:gd name="connsiteX453" fmla="*/ 17898 w 51323"/>
                <a:gd name="connsiteY453" fmla="*/ 7025 h 51323"/>
                <a:gd name="connsiteX454" fmla="*/ 17898 w 51323"/>
                <a:gd name="connsiteY454" fmla="*/ 7025 h 51323"/>
                <a:gd name="connsiteX455" fmla="*/ 17898 w 51323"/>
                <a:gd name="connsiteY455" fmla="*/ 7025 h 51323"/>
                <a:gd name="connsiteX456" fmla="*/ 18001 w 51323"/>
                <a:gd name="connsiteY456" fmla="*/ 7025 h 51323"/>
                <a:gd name="connsiteX457" fmla="*/ 18001 w 51323"/>
                <a:gd name="connsiteY457" fmla="*/ 7025 h 51323"/>
                <a:gd name="connsiteX458" fmla="*/ 18001 w 51323"/>
                <a:gd name="connsiteY458" fmla="*/ 7025 h 51323"/>
                <a:gd name="connsiteX459" fmla="*/ 17829 w 51323"/>
                <a:gd name="connsiteY459" fmla="*/ 7025 h 51323"/>
                <a:gd name="connsiteX460" fmla="*/ 17829 w 51323"/>
                <a:gd name="connsiteY460" fmla="*/ 7025 h 51323"/>
                <a:gd name="connsiteX461" fmla="*/ 17829 w 51323"/>
                <a:gd name="connsiteY461" fmla="*/ 7025 h 51323"/>
                <a:gd name="connsiteX462" fmla="*/ 17177 w 51323"/>
                <a:gd name="connsiteY462" fmla="*/ 7437 h 51323"/>
                <a:gd name="connsiteX463" fmla="*/ 17434 w 51323"/>
                <a:gd name="connsiteY463" fmla="*/ 7334 h 51323"/>
                <a:gd name="connsiteX464" fmla="*/ 17434 w 51323"/>
                <a:gd name="connsiteY464" fmla="*/ 7334 h 51323"/>
                <a:gd name="connsiteX465" fmla="*/ 17864 w 51323"/>
                <a:gd name="connsiteY465" fmla="*/ 7111 h 51323"/>
                <a:gd name="connsiteX466" fmla="*/ 17331 w 51323"/>
                <a:gd name="connsiteY466" fmla="*/ 7489 h 51323"/>
                <a:gd name="connsiteX467" fmla="*/ 17331 w 51323"/>
                <a:gd name="connsiteY467" fmla="*/ 7489 h 51323"/>
                <a:gd name="connsiteX468" fmla="*/ 16644 w 51323"/>
                <a:gd name="connsiteY468" fmla="*/ 7970 h 51323"/>
                <a:gd name="connsiteX469" fmla="*/ 16799 w 51323"/>
                <a:gd name="connsiteY469" fmla="*/ 7884 h 51323"/>
                <a:gd name="connsiteX470" fmla="*/ 16799 w 51323"/>
                <a:gd name="connsiteY470" fmla="*/ 7884 h 51323"/>
                <a:gd name="connsiteX471" fmla="*/ 17675 w 51323"/>
                <a:gd name="connsiteY471" fmla="*/ 7437 h 51323"/>
                <a:gd name="connsiteX472" fmla="*/ 17675 w 51323"/>
                <a:gd name="connsiteY472" fmla="*/ 7437 h 51323"/>
                <a:gd name="connsiteX473" fmla="*/ 17675 w 51323"/>
                <a:gd name="connsiteY473" fmla="*/ 7437 h 51323"/>
                <a:gd name="connsiteX474" fmla="*/ 17812 w 51323"/>
                <a:gd name="connsiteY474" fmla="*/ 7352 h 51323"/>
                <a:gd name="connsiteX475" fmla="*/ 17812 w 51323"/>
                <a:gd name="connsiteY475" fmla="*/ 7352 h 51323"/>
                <a:gd name="connsiteX476" fmla="*/ 17932 w 51323"/>
                <a:gd name="connsiteY476" fmla="*/ 7352 h 51323"/>
                <a:gd name="connsiteX477" fmla="*/ 17932 w 51323"/>
                <a:gd name="connsiteY477" fmla="*/ 7352 h 51323"/>
                <a:gd name="connsiteX478" fmla="*/ 18362 w 51323"/>
                <a:gd name="connsiteY478" fmla="*/ 7111 h 51323"/>
                <a:gd name="connsiteX479" fmla="*/ 18362 w 51323"/>
                <a:gd name="connsiteY479" fmla="*/ 7266 h 51323"/>
                <a:gd name="connsiteX480" fmla="*/ 18362 w 51323"/>
                <a:gd name="connsiteY480" fmla="*/ 7266 h 51323"/>
                <a:gd name="connsiteX481" fmla="*/ 18242 w 51323"/>
                <a:gd name="connsiteY481" fmla="*/ 7386 h 51323"/>
                <a:gd name="connsiteX482" fmla="*/ 18104 w 51323"/>
                <a:gd name="connsiteY482" fmla="*/ 7489 h 51323"/>
                <a:gd name="connsiteX483" fmla="*/ 17898 w 51323"/>
                <a:gd name="connsiteY483" fmla="*/ 7626 h 51323"/>
                <a:gd name="connsiteX484" fmla="*/ 17898 w 51323"/>
                <a:gd name="connsiteY484" fmla="*/ 7626 h 51323"/>
                <a:gd name="connsiteX485" fmla="*/ 17898 w 51323"/>
                <a:gd name="connsiteY485" fmla="*/ 7626 h 51323"/>
                <a:gd name="connsiteX486" fmla="*/ 17692 w 51323"/>
                <a:gd name="connsiteY486" fmla="*/ 7626 h 51323"/>
                <a:gd name="connsiteX487" fmla="*/ 17692 w 51323"/>
                <a:gd name="connsiteY487" fmla="*/ 7626 h 51323"/>
                <a:gd name="connsiteX488" fmla="*/ 17537 w 51323"/>
                <a:gd name="connsiteY488" fmla="*/ 7729 h 51323"/>
                <a:gd name="connsiteX489" fmla="*/ 17537 w 51323"/>
                <a:gd name="connsiteY489" fmla="*/ 7729 h 51323"/>
                <a:gd name="connsiteX490" fmla="*/ 17537 w 51323"/>
                <a:gd name="connsiteY490" fmla="*/ 7729 h 51323"/>
                <a:gd name="connsiteX491" fmla="*/ 16438 w 51323"/>
                <a:gd name="connsiteY491" fmla="*/ 8296 h 51323"/>
                <a:gd name="connsiteX492" fmla="*/ 16524 w 51323"/>
                <a:gd name="connsiteY492" fmla="*/ 8245 h 51323"/>
                <a:gd name="connsiteX493" fmla="*/ 16524 w 51323"/>
                <a:gd name="connsiteY493" fmla="*/ 8245 h 51323"/>
                <a:gd name="connsiteX494" fmla="*/ 16661 w 51323"/>
                <a:gd name="connsiteY494" fmla="*/ 8125 h 51323"/>
                <a:gd name="connsiteX495" fmla="*/ 16661 w 51323"/>
                <a:gd name="connsiteY495" fmla="*/ 8125 h 51323"/>
                <a:gd name="connsiteX496" fmla="*/ 16661 w 51323"/>
                <a:gd name="connsiteY496" fmla="*/ 8125 h 51323"/>
                <a:gd name="connsiteX497" fmla="*/ 16301 w 51323"/>
                <a:gd name="connsiteY497" fmla="*/ 8451 h 51323"/>
                <a:gd name="connsiteX498" fmla="*/ 16404 w 51323"/>
                <a:gd name="connsiteY498" fmla="*/ 8296 h 51323"/>
                <a:gd name="connsiteX499" fmla="*/ 16283 w 51323"/>
                <a:gd name="connsiteY499" fmla="*/ 8399 h 51323"/>
                <a:gd name="connsiteX500" fmla="*/ 16283 w 51323"/>
                <a:gd name="connsiteY500" fmla="*/ 8399 h 51323"/>
                <a:gd name="connsiteX501" fmla="*/ 16283 w 51323"/>
                <a:gd name="connsiteY501" fmla="*/ 8399 h 51323"/>
                <a:gd name="connsiteX502" fmla="*/ 16438 w 51323"/>
                <a:gd name="connsiteY502" fmla="*/ 8279 h 51323"/>
                <a:gd name="connsiteX503" fmla="*/ 16438 w 51323"/>
                <a:gd name="connsiteY503" fmla="*/ 8279 h 51323"/>
                <a:gd name="connsiteX504" fmla="*/ 16438 w 51323"/>
                <a:gd name="connsiteY504" fmla="*/ 8279 h 51323"/>
                <a:gd name="connsiteX505" fmla="*/ 16438 w 51323"/>
                <a:gd name="connsiteY505" fmla="*/ 8279 h 51323"/>
                <a:gd name="connsiteX506" fmla="*/ 15837 w 51323"/>
                <a:gd name="connsiteY506" fmla="*/ 8657 h 51323"/>
                <a:gd name="connsiteX507" fmla="*/ 15837 w 51323"/>
                <a:gd name="connsiteY507" fmla="*/ 8657 h 51323"/>
                <a:gd name="connsiteX508" fmla="*/ 15837 w 51323"/>
                <a:gd name="connsiteY508" fmla="*/ 8365 h 51323"/>
                <a:gd name="connsiteX509" fmla="*/ 15287 w 51323"/>
                <a:gd name="connsiteY509" fmla="*/ 8932 h 51323"/>
                <a:gd name="connsiteX510" fmla="*/ 15287 w 51323"/>
                <a:gd name="connsiteY510" fmla="*/ 8932 h 51323"/>
                <a:gd name="connsiteX511" fmla="*/ 14841 w 51323"/>
                <a:gd name="connsiteY511" fmla="*/ 9138 h 51323"/>
                <a:gd name="connsiteX512" fmla="*/ 14841 w 51323"/>
                <a:gd name="connsiteY512" fmla="*/ 9138 h 51323"/>
                <a:gd name="connsiteX513" fmla="*/ 14841 w 51323"/>
                <a:gd name="connsiteY513" fmla="*/ 9138 h 51323"/>
                <a:gd name="connsiteX514" fmla="*/ 14841 w 51323"/>
                <a:gd name="connsiteY514" fmla="*/ 9138 h 51323"/>
                <a:gd name="connsiteX515" fmla="*/ 14961 w 51323"/>
                <a:gd name="connsiteY515" fmla="*/ 9035 h 51323"/>
                <a:gd name="connsiteX516" fmla="*/ 14806 w 51323"/>
                <a:gd name="connsiteY516" fmla="*/ 9121 h 51323"/>
                <a:gd name="connsiteX517" fmla="*/ 14909 w 51323"/>
                <a:gd name="connsiteY517" fmla="*/ 9018 h 51323"/>
                <a:gd name="connsiteX518" fmla="*/ 14686 w 51323"/>
                <a:gd name="connsiteY518" fmla="*/ 9138 h 51323"/>
                <a:gd name="connsiteX519" fmla="*/ 14531 w 51323"/>
                <a:gd name="connsiteY519" fmla="*/ 9258 h 51323"/>
                <a:gd name="connsiteX520" fmla="*/ 14789 w 51323"/>
                <a:gd name="connsiteY520" fmla="*/ 8846 h 51323"/>
                <a:gd name="connsiteX521" fmla="*/ 14789 w 51323"/>
                <a:gd name="connsiteY521" fmla="*/ 8846 h 51323"/>
                <a:gd name="connsiteX522" fmla="*/ 14789 w 51323"/>
                <a:gd name="connsiteY522" fmla="*/ 8846 h 51323"/>
                <a:gd name="connsiteX523" fmla="*/ 14703 w 51323"/>
                <a:gd name="connsiteY523" fmla="*/ 8949 h 51323"/>
                <a:gd name="connsiteX524" fmla="*/ 14549 w 51323"/>
                <a:gd name="connsiteY524" fmla="*/ 9121 h 51323"/>
                <a:gd name="connsiteX525" fmla="*/ 14686 w 51323"/>
                <a:gd name="connsiteY525" fmla="*/ 9121 h 51323"/>
                <a:gd name="connsiteX526" fmla="*/ 14411 w 51323"/>
                <a:gd name="connsiteY526" fmla="*/ 9121 h 51323"/>
                <a:gd name="connsiteX527" fmla="*/ 14085 w 51323"/>
                <a:gd name="connsiteY527" fmla="*/ 9447 h 51323"/>
                <a:gd name="connsiteX528" fmla="*/ 14085 w 51323"/>
                <a:gd name="connsiteY528" fmla="*/ 9447 h 51323"/>
                <a:gd name="connsiteX529" fmla="*/ 14085 w 51323"/>
                <a:gd name="connsiteY529" fmla="*/ 9447 h 51323"/>
                <a:gd name="connsiteX530" fmla="*/ 14085 w 51323"/>
                <a:gd name="connsiteY530" fmla="*/ 9447 h 51323"/>
                <a:gd name="connsiteX531" fmla="*/ 13930 w 51323"/>
                <a:gd name="connsiteY531" fmla="*/ 9585 h 51323"/>
                <a:gd name="connsiteX532" fmla="*/ 13930 w 51323"/>
                <a:gd name="connsiteY532" fmla="*/ 9585 h 51323"/>
                <a:gd name="connsiteX533" fmla="*/ 13776 w 51323"/>
                <a:gd name="connsiteY533" fmla="*/ 9585 h 51323"/>
                <a:gd name="connsiteX534" fmla="*/ 13123 w 51323"/>
                <a:gd name="connsiteY534" fmla="*/ 9945 h 51323"/>
                <a:gd name="connsiteX535" fmla="*/ 13123 w 51323"/>
                <a:gd name="connsiteY535" fmla="*/ 9945 h 51323"/>
                <a:gd name="connsiteX536" fmla="*/ 11903 w 51323"/>
                <a:gd name="connsiteY536" fmla="*/ 10907 h 51323"/>
                <a:gd name="connsiteX537" fmla="*/ 11525 w 51323"/>
                <a:gd name="connsiteY537" fmla="*/ 11405 h 51323"/>
                <a:gd name="connsiteX538" fmla="*/ 11525 w 51323"/>
                <a:gd name="connsiteY538" fmla="*/ 12092 h 51323"/>
                <a:gd name="connsiteX539" fmla="*/ 11525 w 51323"/>
                <a:gd name="connsiteY539" fmla="*/ 12092 h 51323"/>
                <a:gd name="connsiteX540" fmla="*/ 11405 w 51323"/>
                <a:gd name="connsiteY540" fmla="*/ 12556 h 51323"/>
                <a:gd name="connsiteX541" fmla="*/ 11629 w 51323"/>
                <a:gd name="connsiteY541" fmla="*/ 12693 h 51323"/>
                <a:gd name="connsiteX542" fmla="*/ 11629 w 51323"/>
                <a:gd name="connsiteY542" fmla="*/ 12693 h 51323"/>
                <a:gd name="connsiteX543" fmla="*/ 10392 w 51323"/>
                <a:gd name="connsiteY543" fmla="*/ 14325 h 51323"/>
                <a:gd name="connsiteX544" fmla="*/ 10753 w 51323"/>
                <a:gd name="connsiteY544" fmla="*/ 14188 h 51323"/>
                <a:gd name="connsiteX545" fmla="*/ 10649 w 51323"/>
                <a:gd name="connsiteY545" fmla="*/ 14514 h 51323"/>
                <a:gd name="connsiteX546" fmla="*/ 12608 w 51323"/>
                <a:gd name="connsiteY546" fmla="*/ 12590 h 51323"/>
                <a:gd name="connsiteX547" fmla="*/ 13999 w 51323"/>
                <a:gd name="connsiteY547" fmla="*/ 11148 h 51323"/>
                <a:gd name="connsiteX548" fmla="*/ 13999 w 51323"/>
                <a:gd name="connsiteY548" fmla="*/ 11148 h 51323"/>
                <a:gd name="connsiteX549" fmla="*/ 14205 w 51323"/>
                <a:gd name="connsiteY549" fmla="*/ 10976 h 51323"/>
                <a:gd name="connsiteX550" fmla="*/ 14325 w 51323"/>
                <a:gd name="connsiteY550" fmla="*/ 10856 h 51323"/>
                <a:gd name="connsiteX551" fmla="*/ 15081 w 51323"/>
                <a:gd name="connsiteY551" fmla="*/ 10409 h 51323"/>
                <a:gd name="connsiteX552" fmla="*/ 15201 w 51323"/>
                <a:gd name="connsiteY552" fmla="*/ 10409 h 51323"/>
                <a:gd name="connsiteX553" fmla="*/ 15201 w 51323"/>
                <a:gd name="connsiteY553" fmla="*/ 10409 h 51323"/>
                <a:gd name="connsiteX554" fmla="*/ 15304 w 51323"/>
                <a:gd name="connsiteY554" fmla="*/ 10564 h 51323"/>
                <a:gd name="connsiteX555" fmla="*/ 15167 w 51323"/>
                <a:gd name="connsiteY555" fmla="*/ 10701 h 51323"/>
                <a:gd name="connsiteX556" fmla="*/ 15167 w 51323"/>
                <a:gd name="connsiteY556" fmla="*/ 10701 h 51323"/>
                <a:gd name="connsiteX557" fmla="*/ 15167 w 51323"/>
                <a:gd name="connsiteY557" fmla="*/ 10856 h 51323"/>
                <a:gd name="connsiteX558" fmla="*/ 15167 w 51323"/>
                <a:gd name="connsiteY558" fmla="*/ 10856 h 51323"/>
                <a:gd name="connsiteX559" fmla="*/ 15167 w 51323"/>
                <a:gd name="connsiteY559" fmla="*/ 10941 h 51323"/>
                <a:gd name="connsiteX560" fmla="*/ 15167 w 51323"/>
                <a:gd name="connsiteY560" fmla="*/ 10941 h 51323"/>
                <a:gd name="connsiteX561" fmla="*/ 15047 w 51323"/>
                <a:gd name="connsiteY561" fmla="*/ 11079 h 51323"/>
                <a:gd name="connsiteX562" fmla="*/ 15047 w 51323"/>
                <a:gd name="connsiteY562" fmla="*/ 11079 h 51323"/>
                <a:gd name="connsiteX563" fmla="*/ 15047 w 51323"/>
                <a:gd name="connsiteY563" fmla="*/ 11079 h 51323"/>
                <a:gd name="connsiteX564" fmla="*/ 15047 w 51323"/>
                <a:gd name="connsiteY564" fmla="*/ 11079 h 51323"/>
                <a:gd name="connsiteX565" fmla="*/ 15047 w 51323"/>
                <a:gd name="connsiteY565" fmla="*/ 11079 h 51323"/>
                <a:gd name="connsiteX566" fmla="*/ 15047 w 51323"/>
                <a:gd name="connsiteY566" fmla="*/ 11079 h 51323"/>
                <a:gd name="connsiteX567" fmla="*/ 15047 w 51323"/>
                <a:gd name="connsiteY567" fmla="*/ 11216 h 51323"/>
                <a:gd name="connsiteX568" fmla="*/ 15201 w 51323"/>
                <a:gd name="connsiteY568" fmla="*/ 11130 h 51323"/>
                <a:gd name="connsiteX569" fmla="*/ 14789 w 51323"/>
                <a:gd name="connsiteY569" fmla="*/ 11508 h 51323"/>
                <a:gd name="connsiteX570" fmla="*/ 14789 w 51323"/>
                <a:gd name="connsiteY570" fmla="*/ 11508 h 51323"/>
                <a:gd name="connsiteX571" fmla="*/ 14583 w 51323"/>
                <a:gd name="connsiteY571" fmla="*/ 11508 h 51323"/>
                <a:gd name="connsiteX572" fmla="*/ 14325 w 51323"/>
                <a:gd name="connsiteY572" fmla="*/ 11989 h 51323"/>
                <a:gd name="connsiteX573" fmla="*/ 14325 w 51323"/>
                <a:gd name="connsiteY573" fmla="*/ 11989 h 51323"/>
                <a:gd name="connsiteX574" fmla="*/ 14016 w 51323"/>
                <a:gd name="connsiteY574" fmla="*/ 12367 h 51323"/>
                <a:gd name="connsiteX575" fmla="*/ 14016 w 51323"/>
                <a:gd name="connsiteY575" fmla="*/ 12367 h 51323"/>
                <a:gd name="connsiteX576" fmla="*/ 14308 w 51323"/>
                <a:gd name="connsiteY576" fmla="*/ 12230 h 51323"/>
                <a:gd name="connsiteX577" fmla="*/ 14549 w 51323"/>
                <a:gd name="connsiteY577" fmla="*/ 12075 h 51323"/>
                <a:gd name="connsiteX578" fmla="*/ 14549 w 51323"/>
                <a:gd name="connsiteY578" fmla="*/ 12247 h 51323"/>
                <a:gd name="connsiteX579" fmla="*/ 14995 w 51323"/>
                <a:gd name="connsiteY579" fmla="*/ 11921 h 51323"/>
                <a:gd name="connsiteX580" fmla="*/ 14995 w 51323"/>
                <a:gd name="connsiteY580" fmla="*/ 11921 h 51323"/>
                <a:gd name="connsiteX581" fmla="*/ 15133 w 51323"/>
                <a:gd name="connsiteY581" fmla="*/ 11817 h 51323"/>
                <a:gd name="connsiteX582" fmla="*/ 15133 w 51323"/>
                <a:gd name="connsiteY582" fmla="*/ 11817 h 51323"/>
                <a:gd name="connsiteX583" fmla="*/ 15442 w 51323"/>
                <a:gd name="connsiteY583" fmla="*/ 11577 h 51323"/>
                <a:gd name="connsiteX584" fmla="*/ 15442 w 51323"/>
                <a:gd name="connsiteY584" fmla="*/ 11577 h 51323"/>
                <a:gd name="connsiteX585" fmla="*/ 15322 w 51323"/>
                <a:gd name="connsiteY585" fmla="*/ 11697 h 51323"/>
                <a:gd name="connsiteX586" fmla="*/ 15322 w 51323"/>
                <a:gd name="connsiteY586" fmla="*/ 11783 h 51323"/>
                <a:gd name="connsiteX587" fmla="*/ 15322 w 51323"/>
                <a:gd name="connsiteY587" fmla="*/ 11783 h 51323"/>
                <a:gd name="connsiteX588" fmla="*/ 15150 w 51323"/>
                <a:gd name="connsiteY588" fmla="*/ 12006 h 51323"/>
                <a:gd name="connsiteX589" fmla="*/ 15150 w 51323"/>
                <a:gd name="connsiteY589" fmla="*/ 12006 h 51323"/>
                <a:gd name="connsiteX590" fmla="*/ 15150 w 51323"/>
                <a:gd name="connsiteY590" fmla="*/ 12144 h 51323"/>
                <a:gd name="connsiteX591" fmla="*/ 15150 w 51323"/>
                <a:gd name="connsiteY591" fmla="*/ 12247 h 51323"/>
                <a:gd name="connsiteX592" fmla="*/ 14978 w 51323"/>
                <a:gd name="connsiteY592" fmla="*/ 12247 h 51323"/>
                <a:gd name="connsiteX593" fmla="*/ 14978 w 51323"/>
                <a:gd name="connsiteY593" fmla="*/ 12350 h 51323"/>
                <a:gd name="connsiteX594" fmla="*/ 15150 w 51323"/>
                <a:gd name="connsiteY594" fmla="*/ 12350 h 51323"/>
                <a:gd name="connsiteX595" fmla="*/ 14892 w 51323"/>
                <a:gd name="connsiteY595" fmla="*/ 12505 h 51323"/>
                <a:gd name="connsiteX596" fmla="*/ 14892 w 51323"/>
                <a:gd name="connsiteY596" fmla="*/ 12608 h 51323"/>
                <a:gd name="connsiteX597" fmla="*/ 14995 w 51323"/>
                <a:gd name="connsiteY597" fmla="*/ 12608 h 51323"/>
                <a:gd name="connsiteX598" fmla="*/ 14889 w 51323"/>
                <a:gd name="connsiteY598" fmla="*/ 12770 h 51323"/>
                <a:gd name="connsiteX599" fmla="*/ 14806 w 51323"/>
                <a:gd name="connsiteY599" fmla="*/ 12762 h 51323"/>
                <a:gd name="connsiteX600" fmla="*/ 14806 w 51323"/>
                <a:gd name="connsiteY600" fmla="*/ 12917 h 51323"/>
                <a:gd name="connsiteX601" fmla="*/ 14566 w 51323"/>
                <a:gd name="connsiteY601" fmla="*/ 13089 h 51323"/>
                <a:gd name="connsiteX602" fmla="*/ 14411 w 51323"/>
                <a:gd name="connsiteY602" fmla="*/ 13312 h 51323"/>
                <a:gd name="connsiteX603" fmla="*/ 14531 w 51323"/>
                <a:gd name="connsiteY603" fmla="*/ 13415 h 51323"/>
                <a:gd name="connsiteX604" fmla="*/ 14531 w 51323"/>
                <a:gd name="connsiteY604" fmla="*/ 13501 h 51323"/>
                <a:gd name="connsiteX605" fmla="*/ 14531 w 51323"/>
                <a:gd name="connsiteY605" fmla="*/ 13621 h 51323"/>
                <a:gd name="connsiteX606" fmla="*/ 14634 w 51323"/>
                <a:gd name="connsiteY606" fmla="*/ 13621 h 51323"/>
                <a:gd name="connsiteX607" fmla="*/ 14325 w 51323"/>
                <a:gd name="connsiteY607" fmla="*/ 13844 h 51323"/>
                <a:gd name="connsiteX608" fmla="*/ 14549 w 51323"/>
                <a:gd name="connsiteY608" fmla="*/ 13844 h 51323"/>
                <a:gd name="connsiteX609" fmla="*/ 14549 w 51323"/>
                <a:gd name="connsiteY609" fmla="*/ 13844 h 51323"/>
                <a:gd name="connsiteX610" fmla="*/ 14394 w 51323"/>
                <a:gd name="connsiteY610" fmla="*/ 13999 h 51323"/>
                <a:gd name="connsiteX611" fmla="*/ 14549 w 51323"/>
                <a:gd name="connsiteY611" fmla="*/ 13999 h 51323"/>
                <a:gd name="connsiteX612" fmla="*/ 14549 w 51323"/>
                <a:gd name="connsiteY612" fmla="*/ 13999 h 51323"/>
                <a:gd name="connsiteX613" fmla="*/ 14446 w 51323"/>
                <a:gd name="connsiteY613" fmla="*/ 14153 h 51323"/>
                <a:gd name="connsiteX614" fmla="*/ 14549 w 51323"/>
                <a:gd name="connsiteY614" fmla="*/ 14153 h 51323"/>
                <a:gd name="connsiteX615" fmla="*/ 14119 w 51323"/>
                <a:gd name="connsiteY615" fmla="*/ 14360 h 51323"/>
                <a:gd name="connsiteX616" fmla="*/ 13896 w 51323"/>
                <a:gd name="connsiteY616" fmla="*/ 14497 h 51323"/>
                <a:gd name="connsiteX617" fmla="*/ 13896 w 51323"/>
                <a:gd name="connsiteY617" fmla="*/ 14308 h 51323"/>
                <a:gd name="connsiteX618" fmla="*/ 13793 w 51323"/>
                <a:gd name="connsiteY618" fmla="*/ 14634 h 51323"/>
                <a:gd name="connsiteX619" fmla="*/ 14428 w 51323"/>
                <a:gd name="connsiteY619" fmla="*/ 14411 h 51323"/>
                <a:gd name="connsiteX620" fmla="*/ 14428 w 51323"/>
                <a:gd name="connsiteY620" fmla="*/ 14617 h 51323"/>
                <a:gd name="connsiteX621" fmla="*/ 14428 w 51323"/>
                <a:gd name="connsiteY621" fmla="*/ 14617 h 51323"/>
                <a:gd name="connsiteX622" fmla="*/ 14566 w 51323"/>
                <a:gd name="connsiteY622" fmla="*/ 14617 h 51323"/>
                <a:gd name="connsiteX623" fmla="*/ 14652 w 51323"/>
                <a:gd name="connsiteY623" fmla="*/ 14617 h 51323"/>
                <a:gd name="connsiteX624" fmla="*/ 14497 w 51323"/>
                <a:gd name="connsiteY624" fmla="*/ 14772 h 51323"/>
                <a:gd name="connsiteX625" fmla="*/ 14360 w 51323"/>
                <a:gd name="connsiteY625" fmla="*/ 14875 h 51323"/>
                <a:gd name="connsiteX626" fmla="*/ 14360 w 51323"/>
                <a:gd name="connsiteY626" fmla="*/ 15012 h 51323"/>
                <a:gd name="connsiteX627" fmla="*/ 13844 w 51323"/>
                <a:gd name="connsiteY627" fmla="*/ 15287 h 51323"/>
                <a:gd name="connsiteX628" fmla="*/ 13844 w 51323"/>
                <a:gd name="connsiteY628" fmla="*/ 15287 h 51323"/>
                <a:gd name="connsiteX629" fmla="*/ 12590 w 51323"/>
                <a:gd name="connsiteY629" fmla="*/ 15407 h 51323"/>
                <a:gd name="connsiteX630" fmla="*/ 12247 w 51323"/>
                <a:gd name="connsiteY630" fmla="*/ 15253 h 51323"/>
                <a:gd name="connsiteX631" fmla="*/ 10426 w 51323"/>
                <a:gd name="connsiteY631" fmla="*/ 16369 h 51323"/>
                <a:gd name="connsiteX632" fmla="*/ 11749 w 51323"/>
                <a:gd name="connsiteY632" fmla="*/ 16369 h 51323"/>
                <a:gd name="connsiteX633" fmla="*/ 11577 w 51323"/>
                <a:gd name="connsiteY633" fmla="*/ 16507 h 51323"/>
                <a:gd name="connsiteX634" fmla="*/ 11577 w 51323"/>
                <a:gd name="connsiteY634" fmla="*/ 16936 h 51323"/>
                <a:gd name="connsiteX635" fmla="*/ 11835 w 51323"/>
                <a:gd name="connsiteY635" fmla="*/ 17125 h 51323"/>
                <a:gd name="connsiteX636" fmla="*/ 11835 w 51323"/>
                <a:gd name="connsiteY636" fmla="*/ 17245 h 51323"/>
                <a:gd name="connsiteX637" fmla="*/ 11251 w 51323"/>
                <a:gd name="connsiteY637" fmla="*/ 17365 h 51323"/>
                <a:gd name="connsiteX638" fmla="*/ 10770 w 51323"/>
                <a:gd name="connsiteY638" fmla="*/ 17743 h 51323"/>
                <a:gd name="connsiteX639" fmla="*/ 10770 w 51323"/>
                <a:gd name="connsiteY639" fmla="*/ 17743 h 51323"/>
                <a:gd name="connsiteX640" fmla="*/ 10770 w 51323"/>
                <a:gd name="connsiteY640" fmla="*/ 17640 h 51323"/>
                <a:gd name="connsiteX641" fmla="*/ 11371 w 51323"/>
                <a:gd name="connsiteY641" fmla="*/ 17280 h 51323"/>
                <a:gd name="connsiteX642" fmla="*/ 11543 w 51323"/>
                <a:gd name="connsiteY642" fmla="*/ 17194 h 51323"/>
                <a:gd name="connsiteX643" fmla="*/ 11543 w 51323"/>
                <a:gd name="connsiteY643" fmla="*/ 16970 h 51323"/>
                <a:gd name="connsiteX644" fmla="*/ 11543 w 51323"/>
                <a:gd name="connsiteY644" fmla="*/ 16970 h 51323"/>
                <a:gd name="connsiteX645" fmla="*/ 11543 w 51323"/>
                <a:gd name="connsiteY645" fmla="*/ 16970 h 51323"/>
                <a:gd name="connsiteX646" fmla="*/ 11233 w 51323"/>
                <a:gd name="connsiteY646" fmla="*/ 16970 h 51323"/>
                <a:gd name="connsiteX647" fmla="*/ 10924 w 51323"/>
                <a:gd name="connsiteY647" fmla="*/ 16970 h 51323"/>
                <a:gd name="connsiteX648" fmla="*/ 10924 w 51323"/>
                <a:gd name="connsiteY648" fmla="*/ 17159 h 51323"/>
                <a:gd name="connsiteX649" fmla="*/ 10924 w 51323"/>
                <a:gd name="connsiteY649" fmla="*/ 17159 h 51323"/>
                <a:gd name="connsiteX650" fmla="*/ 10667 w 51323"/>
                <a:gd name="connsiteY650" fmla="*/ 17159 h 51323"/>
                <a:gd name="connsiteX651" fmla="*/ 10667 w 51323"/>
                <a:gd name="connsiteY651" fmla="*/ 17159 h 51323"/>
                <a:gd name="connsiteX652" fmla="*/ 10478 w 51323"/>
                <a:gd name="connsiteY652" fmla="*/ 17331 h 51323"/>
                <a:gd name="connsiteX653" fmla="*/ 10478 w 51323"/>
                <a:gd name="connsiteY653" fmla="*/ 17331 h 51323"/>
                <a:gd name="connsiteX654" fmla="*/ 10478 w 51323"/>
                <a:gd name="connsiteY654" fmla="*/ 17331 h 51323"/>
                <a:gd name="connsiteX655" fmla="*/ 10478 w 51323"/>
                <a:gd name="connsiteY655" fmla="*/ 17331 h 51323"/>
                <a:gd name="connsiteX656" fmla="*/ 10083 w 51323"/>
                <a:gd name="connsiteY656" fmla="*/ 18001 h 51323"/>
                <a:gd name="connsiteX657" fmla="*/ 9911 w 51323"/>
                <a:gd name="connsiteY657" fmla="*/ 18087 h 51323"/>
                <a:gd name="connsiteX658" fmla="*/ 9808 w 51323"/>
                <a:gd name="connsiteY658" fmla="*/ 18087 h 51323"/>
                <a:gd name="connsiteX659" fmla="*/ 8743 w 51323"/>
                <a:gd name="connsiteY659" fmla="*/ 18980 h 51323"/>
                <a:gd name="connsiteX660" fmla="*/ 8743 w 51323"/>
                <a:gd name="connsiteY660" fmla="*/ 18980 h 51323"/>
                <a:gd name="connsiteX661" fmla="*/ 8743 w 51323"/>
                <a:gd name="connsiteY661" fmla="*/ 18980 h 51323"/>
                <a:gd name="connsiteX662" fmla="*/ 8743 w 51323"/>
                <a:gd name="connsiteY662" fmla="*/ 18740 h 51323"/>
                <a:gd name="connsiteX663" fmla="*/ 8365 w 51323"/>
                <a:gd name="connsiteY663" fmla="*/ 19495 h 51323"/>
                <a:gd name="connsiteX664" fmla="*/ 8365 w 51323"/>
                <a:gd name="connsiteY664" fmla="*/ 19495 h 51323"/>
                <a:gd name="connsiteX665" fmla="*/ 8262 w 51323"/>
                <a:gd name="connsiteY665" fmla="*/ 19650 h 51323"/>
                <a:gd name="connsiteX666" fmla="*/ 8434 w 51323"/>
                <a:gd name="connsiteY666" fmla="*/ 19341 h 51323"/>
                <a:gd name="connsiteX667" fmla="*/ 8434 w 51323"/>
                <a:gd name="connsiteY667" fmla="*/ 19221 h 51323"/>
                <a:gd name="connsiteX668" fmla="*/ 8434 w 51323"/>
                <a:gd name="connsiteY668" fmla="*/ 19221 h 51323"/>
                <a:gd name="connsiteX669" fmla="*/ 8674 w 51323"/>
                <a:gd name="connsiteY669" fmla="*/ 18671 h 51323"/>
                <a:gd name="connsiteX670" fmla="*/ 8365 w 51323"/>
                <a:gd name="connsiteY670" fmla="*/ 19221 h 51323"/>
                <a:gd name="connsiteX671" fmla="*/ 8365 w 51323"/>
                <a:gd name="connsiteY671" fmla="*/ 18929 h 51323"/>
                <a:gd name="connsiteX672" fmla="*/ 8365 w 51323"/>
                <a:gd name="connsiteY672" fmla="*/ 19324 h 51323"/>
                <a:gd name="connsiteX673" fmla="*/ 8365 w 51323"/>
                <a:gd name="connsiteY673" fmla="*/ 19530 h 51323"/>
                <a:gd name="connsiteX674" fmla="*/ 8365 w 51323"/>
                <a:gd name="connsiteY674" fmla="*/ 19650 h 51323"/>
                <a:gd name="connsiteX675" fmla="*/ 8365 w 51323"/>
                <a:gd name="connsiteY675" fmla="*/ 19513 h 51323"/>
                <a:gd name="connsiteX676" fmla="*/ 8365 w 51323"/>
                <a:gd name="connsiteY676" fmla="*/ 19856 h 51323"/>
                <a:gd name="connsiteX677" fmla="*/ 8365 w 51323"/>
                <a:gd name="connsiteY677" fmla="*/ 19856 h 51323"/>
                <a:gd name="connsiteX678" fmla="*/ 8210 w 51323"/>
                <a:gd name="connsiteY678" fmla="*/ 19976 h 51323"/>
                <a:gd name="connsiteX679" fmla="*/ 8210 w 51323"/>
                <a:gd name="connsiteY679" fmla="*/ 20097 h 51323"/>
                <a:gd name="connsiteX680" fmla="*/ 8313 w 51323"/>
                <a:gd name="connsiteY680" fmla="*/ 20234 h 51323"/>
                <a:gd name="connsiteX681" fmla="*/ 8313 w 51323"/>
                <a:gd name="connsiteY681" fmla="*/ 20131 h 51323"/>
                <a:gd name="connsiteX682" fmla="*/ 8176 w 51323"/>
                <a:gd name="connsiteY682" fmla="*/ 20354 h 51323"/>
                <a:gd name="connsiteX683" fmla="*/ 8176 w 51323"/>
                <a:gd name="connsiteY683" fmla="*/ 20251 h 51323"/>
                <a:gd name="connsiteX684" fmla="*/ 8176 w 51323"/>
                <a:gd name="connsiteY684" fmla="*/ 20251 h 51323"/>
                <a:gd name="connsiteX685" fmla="*/ 8176 w 51323"/>
                <a:gd name="connsiteY685" fmla="*/ 20389 h 51323"/>
                <a:gd name="connsiteX686" fmla="*/ 8176 w 51323"/>
                <a:gd name="connsiteY686" fmla="*/ 20389 h 51323"/>
                <a:gd name="connsiteX687" fmla="*/ 8176 w 51323"/>
                <a:gd name="connsiteY687" fmla="*/ 20389 h 51323"/>
                <a:gd name="connsiteX688" fmla="*/ 8176 w 51323"/>
                <a:gd name="connsiteY688" fmla="*/ 20389 h 51323"/>
                <a:gd name="connsiteX689" fmla="*/ 6579 w 51323"/>
                <a:gd name="connsiteY689" fmla="*/ 22982 h 51323"/>
                <a:gd name="connsiteX690" fmla="*/ 6579 w 51323"/>
                <a:gd name="connsiteY690" fmla="*/ 22982 h 51323"/>
                <a:gd name="connsiteX691" fmla="*/ 6579 w 51323"/>
                <a:gd name="connsiteY691" fmla="*/ 22982 h 51323"/>
                <a:gd name="connsiteX692" fmla="*/ 6579 w 51323"/>
                <a:gd name="connsiteY692" fmla="*/ 22982 h 51323"/>
                <a:gd name="connsiteX693" fmla="*/ 6579 w 51323"/>
                <a:gd name="connsiteY693" fmla="*/ 22604 h 51323"/>
                <a:gd name="connsiteX694" fmla="*/ 6579 w 51323"/>
                <a:gd name="connsiteY694" fmla="*/ 22707 h 51323"/>
                <a:gd name="connsiteX695" fmla="*/ 6579 w 51323"/>
                <a:gd name="connsiteY695" fmla="*/ 21745 h 51323"/>
                <a:gd name="connsiteX696" fmla="*/ 6579 w 51323"/>
                <a:gd name="connsiteY696" fmla="*/ 21745 h 51323"/>
                <a:gd name="connsiteX697" fmla="*/ 6579 w 51323"/>
                <a:gd name="connsiteY697" fmla="*/ 21745 h 51323"/>
                <a:gd name="connsiteX698" fmla="*/ 6579 w 51323"/>
                <a:gd name="connsiteY698" fmla="*/ 21745 h 51323"/>
                <a:gd name="connsiteX699" fmla="*/ 6579 w 51323"/>
                <a:gd name="connsiteY699" fmla="*/ 21642 h 51323"/>
                <a:gd name="connsiteX700" fmla="*/ 6579 w 51323"/>
                <a:gd name="connsiteY700" fmla="*/ 21522 h 51323"/>
                <a:gd name="connsiteX701" fmla="*/ 6579 w 51323"/>
                <a:gd name="connsiteY701" fmla="*/ 21522 h 51323"/>
                <a:gd name="connsiteX702" fmla="*/ 6579 w 51323"/>
                <a:gd name="connsiteY702" fmla="*/ 21385 h 51323"/>
                <a:gd name="connsiteX703" fmla="*/ 6579 w 51323"/>
                <a:gd name="connsiteY703" fmla="*/ 21385 h 51323"/>
                <a:gd name="connsiteX704" fmla="*/ 6579 w 51323"/>
                <a:gd name="connsiteY704" fmla="*/ 21385 h 51323"/>
                <a:gd name="connsiteX705" fmla="*/ 6579 w 51323"/>
                <a:gd name="connsiteY705" fmla="*/ 21385 h 51323"/>
                <a:gd name="connsiteX706" fmla="*/ 6579 w 51323"/>
                <a:gd name="connsiteY706" fmla="*/ 21230 h 51323"/>
                <a:gd name="connsiteX707" fmla="*/ 6579 w 51323"/>
                <a:gd name="connsiteY707" fmla="*/ 21333 h 51323"/>
                <a:gd name="connsiteX708" fmla="*/ 6373 w 51323"/>
                <a:gd name="connsiteY708" fmla="*/ 21453 h 51323"/>
                <a:gd name="connsiteX709" fmla="*/ 6373 w 51323"/>
                <a:gd name="connsiteY709" fmla="*/ 21453 h 51323"/>
                <a:gd name="connsiteX710" fmla="*/ 6373 w 51323"/>
                <a:gd name="connsiteY710" fmla="*/ 21849 h 51323"/>
                <a:gd name="connsiteX711" fmla="*/ 6373 w 51323"/>
                <a:gd name="connsiteY711" fmla="*/ 21763 h 51323"/>
                <a:gd name="connsiteX712" fmla="*/ 6373 w 51323"/>
                <a:gd name="connsiteY712" fmla="*/ 21660 h 51323"/>
                <a:gd name="connsiteX713" fmla="*/ 6373 w 51323"/>
                <a:gd name="connsiteY713" fmla="*/ 21350 h 51323"/>
                <a:gd name="connsiteX714" fmla="*/ 6373 w 51323"/>
                <a:gd name="connsiteY714" fmla="*/ 21350 h 51323"/>
                <a:gd name="connsiteX715" fmla="*/ 6184 w 51323"/>
                <a:gd name="connsiteY715" fmla="*/ 21350 h 51323"/>
                <a:gd name="connsiteX716" fmla="*/ 6184 w 51323"/>
                <a:gd name="connsiteY716" fmla="*/ 21127 h 51323"/>
                <a:gd name="connsiteX717" fmla="*/ 6184 w 51323"/>
                <a:gd name="connsiteY717" fmla="*/ 21127 h 51323"/>
                <a:gd name="connsiteX718" fmla="*/ 6184 w 51323"/>
                <a:gd name="connsiteY718" fmla="*/ 21385 h 51323"/>
                <a:gd name="connsiteX719" fmla="*/ 6184 w 51323"/>
                <a:gd name="connsiteY719" fmla="*/ 21385 h 51323"/>
                <a:gd name="connsiteX720" fmla="*/ 6184 w 51323"/>
                <a:gd name="connsiteY720" fmla="*/ 21505 h 51323"/>
                <a:gd name="connsiteX721" fmla="*/ 6184 w 51323"/>
                <a:gd name="connsiteY721" fmla="*/ 21505 h 51323"/>
                <a:gd name="connsiteX722" fmla="*/ 6184 w 51323"/>
                <a:gd name="connsiteY722" fmla="*/ 21505 h 51323"/>
                <a:gd name="connsiteX723" fmla="*/ 6184 w 51323"/>
                <a:gd name="connsiteY723" fmla="*/ 21505 h 51323"/>
                <a:gd name="connsiteX724" fmla="*/ 6184 w 51323"/>
                <a:gd name="connsiteY724" fmla="*/ 21505 h 51323"/>
                <a:gd name="connsiteX725" fmla="*/ 6184 w 51323"/>
                <a:gd name="connsiteY725" fmla="*/ 21505 h 51323"/>
                <a:gd name="connsiteX726" fmla="*/ 6184 w 51323"/>
                <a:gd name="connsiteY726" fmla="*/ 21608 h 51323"/>
                <a:gd name="connsiteX727" fmla="*/ 6184 w 51323"/>
                <a:gd name="connsiteY727" fmla="*/ 21608 h 51323"/>
                <a:gd name="connsiteX728" fmla="*/ 5943 w 51323"/>
                <a:gd name="connsiteY728" fmla="*/ 22553 h 51323"/>
                <a:gd name="connsiteX729" fmla="*/ 5943 w 51323"/>
                <a:gd name="connsiteY729" fmla="*/ 22398 h 51323"/>
                <a:gd name="connsiteX730" fmla="*/ 5943 w 51323"/>
                <a:gd name="connsiteY730" fmla="*/ 22621 h 51323"/>
                <a:gd name="connsiteX731" fmla="*/ 5703 w 51323"/>
                <a:gd name="connsiteY731" fmla="*/ 24116 h 51323"/>
                <a:gd name="connsiteX732" fmla="*/ 5703 w 51323"/>
                <a:gd name="connsiteY732" fmla="*/ 25507 h 51323"/>
                <a:gd name="connsiteX733" fmla="*/ 5703 w 51323"/>
                <a:gd name="connsiteY733" fmla="*/ 25507 h 51323"/>
                <a:gd name="connsiteX734" fmla="*/ 5703 w 51323"/>
                <a:gd name="connsiteY734" fmla="*/ 25421 h 51323"/>
                <a:gd name="connsiteX735" fmla="*/ 5703 w 51323"/>
                <a:gd name="connsiteY735" fmla="*/ 25421 h 51323"/>
                <a:gd name="connsiteX736" fmla="*/ 5703 w 51323"/>
                <a:gd name="connsiteY736" fmla="*/ 25421 h 51323"/>
                <a:gd name="connsiteX737" fmla="*/ 5703 w 51323"/>
                <a:gd name="connsiteY737" fmla="*/ 25421 h 51323"/>
                <a:gd name="connsiteX738" fmla="*/ 5703 w 51323"/>
                <a:gd name="connsiteY738" fmla="*/ 25627 h 51323"/>
                <a:gd name="connsiteX739" fmla="*/ 5703 w 51323"/>
                <a:gd name="connsiteY739" fmla="*/ 25627 h 51323"/>
                <a:gd name="connsiteX740" fmla="*/ 5703 w 51323"/>
                <a:gd name="connsiteY740" fmla="*/ 25627 h 51323"/>
                <a:gd name="connsiteX741" fmla="*/ 5703 w 51323"/>
                <a:gd name="connsiteY741" fmla="*/ 25404 h 51323"/>
                <a:gd name="connsiteX742" fmla="*/ 5703 w 51323"/>
                <a:gd name="connsiteY742" fmla="*/ 25404 h 51323"/>
                <a:gd name="connsiteX743" fmla="*/ 5995 w 51323"/>
                <a:gd name="connsiteY743" fmla="*/ 24665 h 51323"/>
                <a:gd name="connsiteX744" fmla="*/ 5995 w 51323"/>
                <a:gd name="connsiteY744" fmla="*/ 24665 h 51323"/>
                <a:gd name="connsiteX745" fmla="*/ 5995 w 51323"/>
                <a:gd name="connsiteY745" fmla="*/ 24665 h 51323"/>
                <a:gd name="connsiteX746" fmla="*/ 5995 w 51323"/>
                <a:gd name="connsiteY746" fmla="*/ 24665 h 51323"/>
                <a:gd name="connsiteX747" fmla="*/ 5857 w 51323"/>
                <a:gd name="connsiteY747" fmla="*/ 25593 h 51323"/>
                <a:gd name="connsiteX748" fmla="*/ 5857 w 51323"/>
                <a:gd name="connsiteY748" fmla="*/ 25919 h 51323"/>
                <a:gd name="connsiteX749" fmla="*/ 5101 w 51323"/>
                <a:gd name="connsiteY749" fmla="*/ 26521 h 51323"/>
                <a:gd name="connsiteX750" fmla="*/ 4500 w 51323"/>
                <a:gd name="connsiteY750" fmla="*/ 25765 h 51323"/>
                <a:gd name="connsiteX751" fmla="*/ 4397 w 51323"/>
                <a:gd name="connsiteY751" fmla="*/ 26658 h 51323"/>
                <a:gd name="connsiteX752" fmla="*/ 4397 w 51323"/>
                <a:gd name="connsiteY752" fmla="*/ 26658 h 51323"/>
                <a:gd name="connsiteX753" fmla="*/ 4397 w 51323"/>
                <a:gd name="connsiteY753" fmla="*/ 26864 h 51323"/>
                <a:gd name="connsiteX754" fmla="*/ 4397 w 51323"/>
                <a:gd name="connsiteY754" fmla="*/ 26864 h 51323"/>
                <a:gd name="connsiteX755" fmla="*/ 4397 w 51323"/>
                <a:gd name="connsiteY755" fmla="*/ 26950 h 51323"/>
                <a:gd name="connsiteX756" fmla="*/ 4586 w 51323"/>
                <a:gd name="connsiteY756" fmla="*/ 26950 h 51323"/>
                <a:gd name="connsiteX757" fmla="*/ 4724 w 51323"/>
                <a:gd name="connsiteY757" fmla="*/ 27190 h 51323"/>
                <a:gd name="connsiteX758" fmla="*/ 4724 w 51323"/>
                <a:gd name="connsiteY758" fmla="*/ 27190 h 51323"/>
                <a:gd name="connsiteX759" fmla="*/ 4724 w 51323"/>
                <a:gd name="connsiteY759" fmla="*/ 27345 h 51323"/>
                <a:gd name="connsiteX760" fmla="*/ 4724 w 51323"/>
                <a:gd name="connsiteY760" fmla="*/ 27448 h 51323"/>
                <a:gd name="connsiteX761" fmla="*/ 4724 w 51323"/>
                <a:gd name="connsiteY761" fmla="*/ 27448 h 51323"/>
                <a:gd name="connsiteX762" fmla="*/ 4724 w 51323"/>
                <a:gd name="connsiteY762" fmla="*/ 28152 h 51323"/>
                <a:gd name="connsiteX763" fmla="*/ 4724 w 51323"/>
                <a:gd name="connsiteY763" fmla="*/ 28152 h 51323"/>
                <a:gd name="connsiteX764" fmla="*/ 4724 w 51323"/>
                <a:gd name="connsiteY764" fmla="*/ 28616 h 51323"/>
                <a:gd name="connsiteX765" fmla="*/ 4724 w 51323"/>
                <a:gd name="connsiteY765" fmla="*/ 28444 h 51323"/>
                <a:gd name="connsiteX766" fmla="*/ 4724 w 51323"/>
                <a:gd name="connsiteY766" fmla="*/ 28805 h 51323"/>
                <a:gd name="connsiteX767" fmla="*/ 4724 w 51323"/>
                <a:gd name="connsiteY767" fmla="*/ 28719 h 51323"/>
                <a:gd name="connsiteX768" fmla="*/ 4724 w 51323"/>
                <a:gd name="connsiteY768" fmla="*/ 29149 h 51323"/>
                <a:gd name="connsiteX769" fmla="*/ 4930 w 51323"/>
                <a:gd name="connsiteY769" fmla="*/ 29733 h 51323"/>
                <a:gd name="connsiteX770" fmla="*/ 5634 w 51323"/>
                <a:gd name="connsiteY770" fmla="*/ 30471 h 51323"/>
                <a:gd name="connsiteX771" fmla="*/ 5960 w 51323"/>
                <a:gd name="connsiteY771" fmla="*/ 29595 h 51323"/>
                <a:gd name="connsiteX772" fmla="*/ 5960 w 51323"/>
                <a:gd name="connsiteY772" fmla="*/ 29475 h 51323"/>
                <a:gd name="connsiteX773" fmla="*/ 6355 w 51323"/>
                <a:gd name="connsiteY773" fmla="*/ 29234 h 51323"/>
                <a:gd name="connsiteX774" fmla="*/ 6355 w 51323"/>
                <a:gd name="connsiteY774" fmla="*/ 30145 h 51323"/>
                <a:gd name="connsiteX775" fmla="*/ 6665 w 51323"/>
                <a:gd name="connsiteY775" fmla="*/ 29664 h 51323"/>
                <a:gd name="connsiteX776" fmla="*/ 6665 w 51323"/>
                <a:gd name="connsiteY776" fmla="*/ 29441 h 51323"/>
                <a:gd name="connsiteX777" fmla="*/ 6785 w 51323"/>
                <a:gd name="connsiteY777" fmla="*/ 29733 h 51323"/>
                <a:gd name="connsiteX778" fmla="*/ 7060 w 51323"/>
                <a:gd name="connsiteY778" fmla="*/ 30007 h 51323"/>
                <a:gd name="connsiteX779" fmla="*/ 7472 w 51323"/>
                <a:gd name="connsiteY779" fmla="*/ 30196 h 51323"/>
                <a:gd name="connsiteX780" fmla="*/ 8262 w 51323"/>
                <a:gd name="connsiteY780" fmla="*/ 30402 h 51323"/>
                <a:gd name="connsiteX781" fmla="*/ 8262 w 51323"/>
                <a:gd name="connsiteY781" fmla="*/ 30643 h 51323"/>
                <a:gd name="connsiteX782" fmla="*/ 8434 w 51323"/>
                <a:gd name="connsiteY782" fmla="*/ 31107 h 51323"/>
                <a:gd name="connsiteX783" fmla="*/ 9189 w 51323"/>
                <a:gd name="connsiteY783" fmla="*/ 32000 h 51323"/>
                <a:gd name="connsiteX784" fmla="*/ 9550 w 51323"/>
                <a:gd name="connsiteY784" fmla="*/ 32309 h 51323"/>
                <a:gd name="connsiteX785" fmla="*/ 10220 w 51323"/>
                <a:gd name="connsiteY785" fmla="*/ 32532 h 51323"/>
                <a:gd name="connsiteX786" fmla="*/ 10856 w 51323"/>
                <a:gd name="connsiteY786" fmla="*/ 33151 h 51323"/>
                <a:gd name="connsiteX787" fmla="*/ 11302 w 51323"/>
                <a:gd name="connsiteY787" fmla="*/ 33924 h 51323"/>
                <a:gd name="connsiteX788" fmla="*/ 11045 w 51323"/>
                <a:gd name="connsiteY788" fmla="*/ 34868 h 51323"/>
                <a:gd name="connsiteX789" fmla="*/ 11148 w 51323"/>
                <a:gd name="connsiteY789" fmla="*/ 34868 h 51323"/>
                <a:gd name="connsiteX790" fmla="*/ 11337 w 51323"/>
                <a:gd name="connsiteY790" fmla="*/ 34731 h 51323"/>
                <a:gd name="connsiteX791" fmla="*/ 11337 w 51323"/>
                <a:gd name="connsiteY791" fmla="*/ 34731 h 51323"/>
                <a:gd name="connsiteX792" fmla="*/ 11337 w 51323"/>
                <a:gd name="connsiteY792" fmla="*/ 35092 h 51323"/>
                <a:gd name="connsiteX793" fmla="*/ 11680 w 51323"/>
                <a:gd name="connsiteY793" fmla="*/ 35624 h 51323"/>
                <a:gd name="connsiteX794" fmla="*/ 12419 w 51323"/>
                <a:gd name="connsiteY794" fmla="*/ 35074 h 51323"/>
                <a:gd name="connsiteX795" fmla="*/ 12642 w 51323"/>
                <a:gd name="connsiteY795" fmla="*/ 35263 h 51323"/>
                <a:gd name="connsiteX796" fmla="*/ 12882 w 51323"/>
                <a:gd name="connsiteY796" fmla="*/ 35469 h 51323"/>
                <a:gd name="connsiteX797" fmla="*/ 12968 w 51323"/>
                <a:gd name="connsiteY797" fmla="*/ 35830 h 51323"/>
                <a:gd name="connsiteX798" fmla="*/ 12968 w 51323"/>
                <a:gd name="connsiteY798" fmla="*/ 35710 h 51323"/>
                <a:gd name="connsiteX799" fmla="*/ 12968 w 51323"/>
                <a:gd name="connsiteY799" fmla="*/ 35504 h 51323"/>
                <a:gd name="connsiteX800" fmla="*/ 13363 w 51323"/>
                <a:gd name="connsiteY800" fmla="*/ 35641 h 51323"/>
                <a:gd name="connsiteX801" fmla="*/ 13466 w 51323"/>
                <a:gd name="connsiteY801" fmla="*/ 35744 h 51323"/>
                <a:gd name="connsiteX802" fmla="*/ 13466 w 51323"/>
                <a:gd name="connsiteY802" fmla="*/ 35744 h 51323"/>
                <a:gd name="connsiteX803" fmla="*/ 13466 w 51323"/>
                <a:gd name="connsiteY803" fmla="*/ 35744 h 51323"/>
                <a:gd name="connsiteX804" fmla="*/ 13466 w 51323"/>
                <a:gd name="connsiteY804" fmla="*/ 35744 h 51323"/>
                <a:gd name="connsiteX805" fmla="*/ 14926 w 51323"/>
                <a:gd name="connsiteY805" fmla="*/ 38922 h 51323"/>
                <a:gd name="connsiteX806" fmla="*/ 14926 w 51323"/>
                <a:gd name="connsiteY806" fmla="*/ 38819 h 51323"/>
                <a:gd name="connsiteX807" fmla="*/ 14806 w 51323"/>
                <a:gd name="connsiteY807" fmla="*/ 38819 h 51323"/>
                <a:gd name="connsiteX808" fmla="*/ 14806 w 51323"/>
                <a:gd name="connsiteY808" fmla="*/ 38819 h 51323"/>
                <a:gd name="connsiteX809" fmla="*/ 14806 w 51323"/>
                <a:gd name="connsiteY809" fmla="*/ 41447 h 51323"/>
                <a:gd name="connsiteX810" fmla="*/ 14806 w 51323"/>
                <a:gd name="connsiteY810" fmla="*/ 41447 h 51323"/>
                <a:gd name="connsiteX811" fmla="*/ 14600 w 51323"/>
                <a:gd name="connsiteY811" fmla="*/ 41447 h 51323"/>
                <a:gd name="connsiteX812" fmla="*/ 14600 w 51323"/>
                <a:gd name="connsiteY812" fmla="*/ 41687 h 51323"/>
                <a:gd name="connsiteX813" fmla="*/ 14154 w 51323"/>
                <a:gd name="connsiteY813" fmla="*/ 41962 h 51323"/>
                <a:gd name="connsiteX814" fmla="*/ 14154 w 51323"/>
                <a:gd name="connsiteY814" fmla="*/ 41962 h 51323"/>
                <a:gd name="connsiteX815" fmla="*/ 14154 w 51323"/>
                <a:gd name="connsiteY815" fmla="*/ 42048 h 51323"/>
                <a:gd name="connsiteX816" fmla="*/ 14154 w 51323"/>
                <a:gd name="connsiteY816" fmla="*/ 42048 h 51323"/>
                <a:gd name="connsiteX817" fmla="*/ 14411 w 51323"/>
                <a:gd name="connsiteY817" fmla="*/ 42529 h 51323"/>
                <a:gd name="connsiteX818" fmla="*/ 14411 w 51323"/>
                <a:gd name="connsiteY818" fmla="*/ 43336 h 51323"/>
                <a:gd name="connsiteX819" fmla="*/ 14411 w 51323"/>
                <a:gd name="connsiteY819" fmla="*/ 43250 h 51323"/>
                <a:gd name="connsiteX820" fmla="*/ 14411 w 51323"/>
                <a:gd name="connsiteY820" fmla="*/ 43113 h 51323"/>
                <a:gd name="connsiteX821" fmla="*/ 14171 w 51323"/>
                <a:gd name="connsiteY821" fmla="*/ 42924 h 51323"/>
                <a:gd name="connsiteX822" fmla="*/ 14325 w 51323"/>
                <a:gd name="connsiteY822" fmla="*/ 43113 h 51323"/>
                <a:gd name="connsiteX823" fmla="*/ 14325 w 51323"/>
                <a:gd name="connsiteY823" fmla="*/ 43250 h 51323"/>
                <a:gd name="connsiteX824" fmla="*/ 13844 w 51323"/>
                <a:gd name="connsiteY824" fmla="*/ 43817 h 51323"/>
                <a:gd name="connsiteX825" fmla="*/ 14549 w 51323"/>
                <a:gd name="connsiteY825" fmla="*/ 44418 h 51323"/>
                <a:gd name="connsiteX826" fmla="*/ 14549 w 51323"/>
                <a:gd name="connsiteY826" fmla="*/ 44418 h 51323"/>
                <a:gd name="connsiteX827" fmla="*/ 14755 w 51323"/>
                <a:gd name="connsiteY827" fmla="*/ 44693 h 51323"/>
                <a:gd name="connsiteX828" fmla="*/ 14755 w 51323"/>
                <a:gd name="connsiteY828" fmla="*/ 44693 h 51323"/>
                <a:gd name="connsiteX829" fmla="*/ 14755 w 51323"/>
                <a:gd name="connsiteY829" fmla="*/ 44882 h 51323"/>
                <a:gd name="connsiteX830" fmla="*/ 14291 w 51323"/>
                <a:gd name="connsiteY830" fmla="*/ 44882 h 51323"/>
                <a:gd name="connsiteX831" fmla="*/ 14566 w 51323"/>
                <a:gd name="connsiteY831" fmla="*/ 45123 h 51323"/>
                <a:gd name="connsiteX832" fmla="*/ 14566 w 51323"/>
                <a:gd name="connsiteY832" fmla="*/ 45123 h 51323"/>
                <a:gd name="connsiteX833" fmla="*/ 14463 w 51323"/>
                <a:gd name="connsiteY833" fmla="*/ 45294 h 51323"/>
                <a:gd name="connsiteX834" fmla="*/ 15012 w 51323"/>
                <a:gd name="connsiteY834" fmla="*/ 45707 h 51323"/>
                <a:gd name="connsiteX835" fmla="*/ 15012 w 51323"/>
                <a:gd name="connsiteY835" fmla="*/ 45707 h 51323"/>
                <a:gd name="connsiteX836" fmla="*/ 15012 w 51323"/>
                <a:gd name="connsiteY836" fmla="*/ 45707 h 51323"/>
                <a:gd name="connsiteX837" fmla="*/ 15717 w 51323"/>
                <a:gd name="connsiteY837" fmla="*/ 46359 h 51323"/>
                <a:gd name="connsiteX838" fmla="*/ 15717 w 51323"/>
                <a:gd name="connsiteY838" fmla="*/ 46359 h 51323"/>
                <a:gd name="connsiteX839" fmla="*/ 15717 w 51323"/>
                <a:gd name="connsiteY839" fmla="*/ 46359 h 51323"/>
                <a:gd name="connsiteX840" fmla="*/ 15717 w 51323"/>
                <a:gd name="connsiteY840" fmla="*/ 46359 h 51323"/>
                <a:gd name="connsiteX841" fmla="*/ 16730 w 51323"/>
                <a:gd name="connsiteY841" fmla="*/ 47012 h 51323"/>
                <a:gd name="connsiteX842" fmla="*/ 16730 w 51323"/>
                <a:gd name="connsiteY842" fmla="*/ 47012 h 51323"/>
                <a:gd name="connsiteX843" fmla="*/ 16730 w 51323"/>
                <a:gd name="connsiteY843" fmla="*/ 47012 h 51323"/>
                <a:gd name="connsiteX844" fmla="*/ 16730 w 51323"/>
                <a:gd name="connsiteY844" fmla="*/ 47012 h 51323"/>
                <a:gd name="connsiteX845" fmla="*/ 16885 w 51323"/>
                <a:gd name="connsiteY845" fmla="*/ 47132 h 51323"/>
                <a:gd name="connsiteX846" fmla="*/ 16885 w 51323"/>
                <a:gd name="connsiteY846" fmla="*/ 47132 h 51323"/>
                <a:gd name="connsiteX847" fmla="*/ 17091 w 51323"/>
                <a:gd name="connsiteY847" fmla="*/ 47270 h 51323"/>
                <a:gd name="connsiteX848" fmla="*/ 16988 w 51323"/>
                <a:gd name="connsiteY848" fmla="*/ 47270 h 51323"/>
                <a:gd name="connsiteX849" fmla="*/ 17898 w 51323"/>
                <a:gd name="connsiteY849" fmla="*/ 47751 h 51323"/>
                <a:gd name="connsiteX850" fmla="*/ 17898 w 51323"/>
                <a:gd name="connsiteY850" fmla="*/ 47751 h 51323"/>
                <a:gd name="connsiteX851" fmla="*/ 17898 w 51323"/>
                <a:gd name="connsiteY851" fmla="*/ 47751 h 51323"/>
                <a:gd name="connsiteX852" fmla="*/ 17898 w 51323"/>
                <a:gd name="connsiteY852" fmla="*/ 47751 h 51323"/>
                <a:gd name="connsiteX853" fmla="*/ 18396 w 51323"/>
                <a:gd name="connsiteY853" fmla="*/ 48008 h 51323"/>
                <a:gd name="connsiteX854" fmla="*/ 18173 w 51323"/>
                <a:gd name="connsiteY854" fmla="*/ 48008 h 51323"/>
                <a:gd name="connsiteX855" fmla="*/ 20560 w 51323"/>
                <a:gd name="connsiteY855" fmla="*/ 10117 h 51323"/>
                <a:gd name="connsiteX856" fmla="*/ 20560 w 51323"/>
                <a:gd name="connsiteY856" fmla="*/ 9980 h 51323"/>
                <a:gd name="connsiteX857" fmla="*/ 20286 w 51323"/>
                <a:gd name="connsiteY857" fmla="*/ 10323 h 51323"/>
                <a:gd name="connsiteX858" fmla="*/ 19289 w 51323"/>
                <a:gd name="connsiteY858" fmla="*/ 10907 h 51323"/>
                <a:gd name="connsiteX859" fmla="*/ 19152 w 51323"/>
                <a:gd name="connsiteY859" fmla="*/ 11165 h 51323"/>
                <a:gd name="connsiteX860" fmla="*/ 19152 w 51323"/>
                <a:gd name="connsiteY860" fmla="*/ 11165 h 51323"/>
                <a:gd name="connsiteX861" fmla="*/ 18997 w 51323"/>
                <a:gd name="connsiteY861" fmla="*/ 11165 h 51323"/>
                <a:gd name="connsiteX862" fmla="*/ 18585 w 51323"/>
                <a:gd name="connsiteY862" fmla="*/ 11577 h 51323"/>
                <a:gd name="connsiteX863" fmla="*/ 18259 w 51323"/>
                <a:gd name="connsiteY863" fmla="*/ 11903 h 51323"/>
                <a:gd name="connsiteX864" fmla="*/ 18001 w 51323"/>
                <a:gd name="connsiteY864" fmla="*/ 12109 h 51323"/>
                <a:gd name="connsiteX865" fmla="*/ 17743 w 51323"/>
                <a:gd name="connsiteY865" fmla="*/ 12006 h 51323"/>
                <a:gd name="connsiteX866" fmla="*/ 17503 w 51323"/>
                <a:gd name="connsiteY866" fmla="*/ 11783 h 51323"/>
                <a:gd name="connsiteX867" fmla="*/ 18018 w 51323"/>
                <a:gd name="connsiteY867" fmla="*/ 10461 h 51323"/>
                <a:gd name="connsiteX868" fmla="*/ 18448 w 51323"/>
                <a:gd name="connsiteY868" fmla="*/ 10134 h 51323"/>
                <a:gd name="connsiteX869" fmla="*/ 18448 w 51323"/>
                <a:gd name="connsiteY869" fmla="*/ 9739 h 51323"/>
                <a:gd name="connsiteX870" fmla="*/ 18345 w 51323"/>
                <a:gd name="connsiteY870" fmla="*/ 9739 h 51323"/>
                <a:gd name="connsiteX871" fmla="*/ 18963 w 51323"/>
                <a:gd name="connsiteY871" fmla="*/ 9344 h 51323"/>
                <a:gd name="connsiteX872" fmla="*/ 18774 w 51323"/>
                <a:gd name="connsiteY872" fmla="*/ 9104 h 51323"/>
                <a:gd name="connsiteX873" fmla="*/ 19324 w 51323"/>
                <a:gd name="connsiteY873" fmla="*/ 9104 h 51323"/>
                <a:gd name="connsiteX874" fmla="*/ 19324 w 51323"/>
                <a:gd name="connsiteY874" fmla="*/ 8966 h 51323"/>
                <a:gd name="connsiteX875" fmla="*/ 18946 w 51323"/>
                <a:gd name="connsiteY875" fmla="*/ 8966 h 51323"/>
                <a:gd name="connsiteX876" fmla="*/ 19598 w 51323"/>
                <a:gd name="connsiteY876" fmla="*/ 8674 h 51323"/>
                <a:gd name="connsiteX877" fmla="*/ 19598 w 51323"/>
                <a:gd name="connsiteY877" fmla="*/ 8674 h 51323"/>
                <a:gd name="connsiteX878" fmla="*/ 20182 w 51323"/>
                <a:gd name="connsiteY878" fmla="*/ 8193 h 51323"/>
                <a:gd name="connsiteX879" fmla="*/ 20354 w 51323"/>
                <a:gd name="connsiteY879" fmla="*/ 7953 h 51323"/>
                <a:gd name="connsiteX880" fmla="*/ 20560 w 51323"/>
                <a:gd name="connsiteY880" fmla="*/ 7764 h 51323"/>
                <a:gd name="connsiteX881" fmla="*/ 20681 w 51323"/>
                <a:gd name="connsiteY881" fmla="*/ 7386 h 51323"/>
                <a:gd name="connsiteX882" fmla="*/ 21746 w 51323"/>
                <a:gd name="connsiteY882" fmla="*/ 6338 h 51323"/>
                <a:gd name="connsiteX883" fmla="*/ 22914 w 51323"/>
                <a:gd name="connsiteY883" fmla="*/ 4981 h 51323"/>
                <a:gd name="connsiteX884" fmla="*/ 23326 w 51323"/>
                <a:gd name="connsiteY884" fmla="*/ 4844 h 51323"/>
                <a:gd name="connsiteX885" fmla="*/ 26761 w 51323"/>
                <a:gd name="connsiteY885" fmla="*/ 3693 h 51323"/>
                <a:gd name="connsiteX886" fmla="*/ 26881 w 51323"/>
                <a:gd name="connsiteY886" fmla="*/ 3693 h 51323"/>
                <a:gd name="connsiteX887" fmla="*/ 26607 w 51323"/>
                <a:gd name="connsiteY887" fmla="*/ 3951 h 51323"/>
                <a:gd name="connsiteX888" fmla="*/ 26211 w 51323"/>
                <a:gd name="connsiteY888" fmla="*/ 4208 h 51323"/>
                <a:gd name="connsiteX889" fmla="*/ 26211 w 51323"/>
                <a:gd name="connsiteY889" fmla="*/ 4329 h 51323"/>
                <a:gd name="connsiteX890" fmla="*/ 26074 w 51323"/>
                <a:gd name="connsiteY890" fmla="*/ 4500 h 51323"/>
                <a:gd name="connsiteX891" fmla="*/ 26383 w 51323"/>
                <a:gd name="connsiteY891" fmla="*/ 4621 h 51323"/>
                <a:gd name="connsiteX892" fmla="*/ 26057 w 51323"/>
                <a:gd name="connsiteY892" fmla="*/ 4947 h 51323"/>
                <a:gd name="connsiteX893" fmla="*/ 25301 w 51323"/>
                <a:gd name="connsiteY893" fmla="*/ 6235 h 51323"/>
                <a:gd name="connsiteX894" fmla="*/ 25112 w 51323"/>
                <a:gd name="connsiteY894" fmla="*/ 6373 h 51323"/>
                <a:gd name="connsiteX895" fmla="*/ 25009 w 51323"/>
                <a:gd name="connsiteY895" fmla="*/ 6596 h 51323"/>
                <a:gd name="connsiteX896" fmla="*/ 24751 w 51323"/>
                <a:gd name="connsiteY896" fmla="*/ 6596 h 51323"/>
                <a:gd name="connsiteX897" fmla="*/ 24751 w 51323"/>
                <a:gd name="connsiteY897" fmla="*/ 6768 h 51323"/>
                <a:gd name="connsiteX898" fmla="*/ 24751 w 51323"/>
                <a:gd name="connsiteY898" fmla="*/ 7180 h 51323"/>
                <a:gd name="connsiteX899" fmla="*/ 24442 w 51323"/>
                <a:gd name="connsiteY899" fmla="*/ 7489 h 51323"/>
                <a:gd name="connsiteX900" fmla="*/ 24133 w 51323"/>
                <a:gd name="connsiteY900" fmla="*/ 7489 h 51323"/>
                <a:gd name="connsiteX901" fmla="*/ 23738 w 51323"/>
                <a:gd name="connsiteY901" fmla="*/ 7626 h 51323"/>
                <a:gd name="connsiteX902" fmla="*/ 23738 w 51323"/>
                <a:gd name="connsiteY902" fmla="*/ 7781 h 51323"/>
                <a:gd name="connsiteX903" fmla="*/ 23824 w 51323"/>
                <a:gd name="connsiteY903" fmla="*/ 7987 h 51323"/>
                <a:gd name="connsiteX904" fmla="*/ 23583 w 51323"/>
                <a:gd name="connsiteY904" fmla="*/ 8262 h 51323"/>
                <a:gd name="connsiteX905" fmla="*/ 23137 w 51323"/>
                <a:gd name="connsiteY905" fmla="*/ 8520 h 51323"/>
                <a:gd name="connsiteX906" fmla="*/ 22931 w 51323"/>
                <a:gd name="connsiteY906" fmla="*/ 8726 h 51323"/>
                <a:gd name="connsiteX907" fmla="*/ 22931 w 51323"/>
                <a:gd name="connsiteY907" fmla="*/ 8846 h 51323"/>
                <a:gd name="connsiteX908" fmla="*/ 23446 w 51323"/>
                <a:gd name="connsiteY908" fmla="*/ 9121 h 51323"/>
                <a:gd name="connsiteX909" fmla="*/ 23137 w 51323"/>
                <a:gd name="connsiteY909" fmla="*/ 9275 h 51323"/>
                <a:gd name="connsiteX910" fmla="*/ 21952 w 51323"/>
                <a:gd name="connsiteY910" fmla="*/ 9396 h 51323"/>
                <a:gd name="connsiteX911" fmla="*/ 21831 w 51323"/>
                <a:gd name="connsiteY911" fmla="*/ 9653 h 51323"/>
                <a:gd name="connsiteX912" fmla="*/ 20560 w 51323"/>
                <a:gd name="connsiteY912" fmla="*/ 10117 h 51323"/>
                <a:gd name="connsiteX913" fmla="*/ 23669 w 51323"/>
                <a:gd name="connsiteY913" fmla="*/ 11440 h 51323"/>
                <a:gd name="connsiteX914" fmla="*/ 23412 w 51323"/>
                <a:gd name="connsiteY914" fmla="*/ 11440 h 51323"/>
                <a:gd name="connsiteX915" fmla="*/ 23274 w 51323"/>
                <a:gd name="connsiteY915" fmla="*/ 11319 h 51323"/>
                <a:gd name="connsiteX916" fmla="*/ 23274 w 51323"/>
                <a:gd name="connsiteY916" fmla="*/ 11319 h 51323"/>
                <a:gd name="connsiteX917" fmla="*/ 22965 w 51323"/>
                <a:gd name="connsiteY917" fmla="*/ 11319 h 51323"/>
                <a:gd name="connsiteX918" fmla="*/ 22965 w 51323"/>
                <a:gd name="connsiteY918" fmla="*/ 11319 h 51323"/>
                <a:gd name="connsiteX919" fmla="*/ 22965 w 51323"/>
                <a:gd name="connsiteY919" fmla="*/ 11233 h 51323"/>
                <a:gd name="connsiteX920" fmla="*/ 22965 w 51323"/>
                <a:gd name="connsiteY920" fmla="*/ 11233 h 51323"/>
                <a:gd name="connsiteX921" fmla="*/ 23206 w 51323"/>
                <a:gd name="connsiteY921" fmla="*/ 11148 h 51323"/>
                <a:gd name="connsiteX922" fmla="*/ 23206 w 51323"/>
                <a:gd name="connsiteY922" fmla="*/ 11027 h 51323"/>
                <a:gd name="connsiteX923" fmla="*/ 23206 w 51323"/>
                <a:gd name="connsiteY923" fmla="*/ 10941 h 51323"/>
                <a:gd name="connsiteX924" fmla="*/ 22948 w 51323"/>
                <a:gd name="connsiteY924" fmla="*/ 10821 h 51323"/>
                <a:gd name="connsiteX925" fmla="*/ 23223 w 51323"/>
                <a:gd name="connsiteY925" fmla="*/ 10821 h 51323"/>
                <a:gd name="connsiteX926" fmla="*/ 23412 w 51323"/>
                <a:gd name="connsiteY926" fmla="*/ 10718 h 51323"/>
                <a:gd name="connsiteX927" fmla="*/ 23412 w 51323"/>
                <a:gd name="connsiteY927" fmla="*/ 10718 h 51323"/>
                <a:gd name="connsiteX928" fmla="*/ 23412 w 51323"/>
                <a:gd name="connsiteY928" fmla="*/ 10632 h 51323"/>
                <a:gd name="connsiteX929" fmla="*/ 23412 w 51323"/>
                <a:gd name="connsiteY929" fmla="*/ 10632 h 51323"/>
                <a:gd name="connsiteX930" fmla="*/ 23412 w 51323"/>
                <a:gd name="connsiteY930" fmla="*/ 10632 h 51323"/>
                <a:gd name="connsiteX931" fmla="*/ 23412 w 51323"/>
                <a:gd name="connsiteY931" fmla="*/ 10632 h 51323"/>
                <a:gd name="connsiteX932" fmla="*/ 23291 w 51323"/>
                <a:gd name="connsiteY932" fmla="*/ 10632 h 51323"/>
                <a:gd name="connsiteX933" fmla="*/ 23291 w 51323"/>
                <a:gd name="connsiteY933" fmla="*/ 10632 h 51323"/>
                <a:gd name="connsiteX934" fmla="*/ 23291 w 51323"/>
                <a:gd name="connsiteY934" fmla="*/ 10632 h 51323"/>
                <a:gd name="connsiteX935" fmla="*/ 23291 w 51323"/>
                <a:gd name="connsiteY935" fmla="*/ 10632 h 51323"/>
                <a:gd name="connsiteX936" fmla="*/ 23291 w 51323"/>
                <a:gd name="connsiteY936" fmla="*/ 10632 h 51323"/>
                <a:gd name="connsiteX937" fmla="*/ 23291 w 51323"/>
                <a:gd name="connsiteY937" fmla="*/ 10632 h 51323"/>
                <a:gd name="connsiteX938" fmla="*/ 23291 w 51323"/>
                <a:gd name="connsiteY938" fmla="*/ 10632 h 51323"/>
                <a:gd name="connsiteX939" fmla="*/ 23291 w 51323"/>
                <a:gd name="connsiteY939" fmla="*/ 10478 h 51323"/>
                <a:gd name="connsiteX940" fmla="*/ 23291 w 51323"/>
                <a:gd name="connsiteY940" fmla="*/ 10581 h 51323"/>
                <a:gd name="connsiteX941" fmla="*/ 23291 w 51323"/>
                <a:gd name="connsiteY941" fmla="*/ 10581 h 51323"/>
                <a:gd name="connsiteX942" fmla="*/ 23291 w 51323"/>
                <a:gd name="connsiteY942" fmla="*/ 10581 h 51323"/>
                <a:gd name="connsiteX943" fmla="*/ 23291 w 51323"/>
                <a:gd name="connsiteY943" fmla="*/ 10667 h 51323"/>
                <a:gd name="connsiteX944" fmla="*/ 23291 w 51323"/>
                <a:gd name="connsiteY944" fmla="*/ 10787 h 51323"/>
                <a:gd name="connsiteX945" fmla="*/ 23291 w 51323"/>
                <a:gd name="connsiteY945" fmla="*/ 10873 h 51323"/>
                <a:gd name="connsiteX946" fmla="*/ 23429 w 51323"/>
                <a:gd name="connsiteY946" fmla="*/ 10701 h 51323"/>
                <a:gd name="connsiteX947" fmla="*/ 23601 w 51323"/>
                <a:gd name="connsiteY947" fmla="*/ 10461 h 51323"/>
                <a:gd name="connsiteX948" fmla="*/ 23601 w 51323"/>
                <a:gd name="connsiteY948" fmla="*/ 10598 h 51323"/>
                <a:gd name="connsiteX949" fmla="*/ 23790 w 51323"/>
                <a:gd name="connsiteY949" fmla="*/ 10478 h 51323"/>
                <a:gd name="connsiteX950" fmla="*/ 23790 w 51323"/>
                <a:gd name="connsiteY950" fmla="*/ 10787 h 51323"/>
                <a:gd name="connsiteX951" fmla="*/ 23961 w 51323"/>
                <a:gd name="connsiteY951" fmla="*/ 10512 h 51323"/>
                <a:gd name="connsiteX952" fmla="*/ 24099 w 51323"/>
                <a:gd name="connsiteY952" fmla="*/ 10512 h 51323"/>
                <a:gd name="connsiteX953" fmla="*/ 24322 w 51323"/>
                <a:gd name="connsiteY953" fmla="*/ 10512 h 51323"/>
                <a:gd name="connsiteX954" fmla="*/ 24528 w 51323"/>
                <a:gd name="connsiteY954" fmla="*/ 10512 h 51323"/>
                <a:gd name="connsiteX955" fmla="*/ 24528 w 51323"/>
                <a:gd name="connsiteY955" fmla="*/ 10632 h 51323"/>
                <a:gd name="connsiteX956" fmla="*/ 24528 w 51323"/>
                <a:gd name="connsiteY956" fmla="*/ 10804 h 51323"/>
                <a:gd name="connsiteX957" fmla="*/ 24528 w 51323"/>
                <a:gd name="connsiteY957" fmla="*/ 10804 h 51323"/>
                <a:gd name="connsiteX958" fmla="*/ 24528 w 51323"/>
                <a:gd name="connsiteY958" fmla="*/ 10924 h 51323"/>
                <a:gd name="connsiteX959" fmla="*/ 24528 w 51323"/>
                <a:gd name="connsiteY959" fmla="*/ 11148 h 51323"/>
                <a:gd name="connsiteX960" fmla="*/ 24288 w 51323"/>
                <a:gd name="connsiteY960" fmla="*/ 11148 h 51323"/>
                <a:gd name="connsiteX961" fmla="*/ 23978 w 51323"/>
                <a:gd name="connsiteY961" fmla="*/ 11388 h 51323"/>
                <a:gd name="connsiteX962" fmla="*/ 23978 w 51323"/>
                <a:gd name="connsiteY962" fmla="*/ 11388 h 51323"/>
                <a:gd name="connsiteX963" fmla="*/ 23790 w 51323"/>
                <a:gd name="connsiteY963" fmla="*/ 11388 h 51323"/>
                <a:gd name="connsiteX964" fmla="*/ 23790 w 51323"/>
                <a:gd name="connsiteY964" fmla="*/ 11388 h 51323"/>
                <a:gd name="connsiteX965" fmla="*/ 23669 w 51323"/>
                <a:gd name="connsiteY965" fmla="*/ 11440 h 51323"/>
                <a:gd name="connsiteX966" fmla="*/ 38184 w 51323"/>
                <a:gd name="connsiteY966" fmla="*/ 41533 h 51323"/>
                <a:gd name="connsiteX967" fmla="*/ 38802 w 51323"/>
                <a:gd name="connsiteY967" fmla="*/ 40640 h 51323"/>
                <a:gd name="connsiteX968" fmla="*/ 39540 w 51323"/>
                <a:gd name="connsiteY968" fmla="*/ 39523 h 51323"/>
                <a:gd name="connsiteX969" fmla="*/ 39540 w 51323"/>
                <a:gd name="connsiteY969" fmla="*/ 39523 h 51323"/>
                <a:gd name="connsiteX970" fmla="*/ 39540 w 51323"/>
                <a:gd name="connsiteY970" fmla="*/ 39523 h 51323"/>
                <a:gd name="connsiteX971" fmla="*/ 39781 w 51323"/>
                <a:gd name="connsiteY971" fmla="*/ 39386 h 51323"/>
                <a:gd name="connsiteX972" fmla="*/ 39953 w 51323"/>
                <a:gd name="connsiteY972" fmla="*/ 39386 h 51323"/>
                <a:gd name="connsiteX973" fmla="*/ 39953 w 51323"/>
                <a:gd name="connsiteY973" fmla="*/ 39386 h 51323"/>
                <a:gd name="connsiteX974" fmla="*/ 39953 w 51323"/>
                <a:gd name="connsiteY974" fmla="*/ 39248 h 51323"/>
                <a:gd name="connsiteX975" fmla="*/ 39953 w 51323"/>
                <a:gd name="connsiteY975" fmla="*/ 39248 h 51323"/>
                <a:gd name="connsiteX976" fmla="*/ 39953 w 51323"/>
                <a:gd name="connsiteY976" fmla="*/ 39248 h 51323"/>
                <a:gd name="connsiteX977" fmla="*/ 39953 w 51323"/>
                <a:gd name="connsiteY977" fmla="*/ 39369 h 51323"/>
                <a:gd name="connsiteX978" fmla="*/ 40107 w 51323"/>
                <a:gd name="connsiteY978" fmla="*/ 39266 h 51323"/>
                <a:gd name="connsiteX979" fmla="*/ 40107 w 51323"/>
                <a:gd name="connsiteY979" fmla="*/ 39145 h 51323"/>
                <a:gd name="connsiteX980" fmla="*/ 40107 w 51323"/>
                <a:gd name="connsiteY980" fmla="*/ 39042 h 51323"/>
                <a:gd name="connsiteX981" fmla="*/ 40262 w 51323"/>
                <a:gd name="connsiteY981" fmla="*/ 38939 h 51323"/>
                <a:gd name="connsiteX982" fmla="*/ 40485 w 51323"/>
                <a:gd name="connsiteY982" fmla="*/ 38561 h 51323"/>
                <a:gd name="connsiteX983" fmla="*/ 40674 w 51323"/>
                <a:gd name="connsiteY983" fmla="*/ 38441 h 51323"/>
                <a:gd name="connsiteX984" fmla="*/ 40674 w 51323"/>
                <a:gd name="connsiteY984" fmla="*/ 38664 h 51323"/>
                <a:gd name="connsiteX985" fmla="*/ 38184 w 51323"/>
                <a:gd name="connsiteY985" fmla="*/ 41533 h 51323"/>
                <a:gd name="connsiteX986" fmla="*/ 49159 w 51323"/>
                <a:gd name="connsiteY986" fmla="*/ 26589 h 51323"/>
                <a:gd name="connsiteX987" fmla="*/ 49159 w 51323"/>
                <a:gd name="connsiteY987" fmla="*/ 26589 h 51323"/>
                <a:gd name="connsiteX988" fmla="*/ 48386 w 51323"/>
                <a:gd name="connsiteY988" fmla="*/ 30643 h 51323"/>
                <a:gd name="connsiteX989" fmla="*/ 48215 w 51323"/>
                <a:gd name="connsiteY989" fmla="*/ 30849 h 51323"/>
                <a:gd name="connsiteX990" fmla="*/ 47613 w 51323"/>
                <a:gd name="connsiteY990" fmla="*/ 26452 h 51323"/>
                <a:gd name="connsiteX991" fmla="*/ 47613 w 51323"/>
                <a:gd name="connsiteY991" fmla="*/ 26160 h 51323"/>
                <a:gd name="connsiteX992" fmla="*/ 47528 w 51323"/>
                <a:gd name="connsiteY992" fmla="*/ 26160 h 51323"/>
                <a:gd name="connsiteX993" fmla="*/ 47098 w 51323"/>
                <a:gd name="connsiteY993" fmla="*/ 26606 h 51323"/>
                <a:gd name="connsiteX994" fmla="*/ 46995 w 51323"/>
                <a:gd name="connsiteY994" fmla="*/ 26383 h 51323"/>
                <a:gd name="connsiteX995" fmla="*/ 46995 w 51323"/>
                <a:gd name="connsiteY995" fmla="*/ 26383 h 51323"/>
                <a:gd name="connsiteX996" fmla="*/ 46995 w 51323"/>
                <a:gd name="connsiteY996" fmla="*/ 26383 h 51323"/>
                <a:gd name="connsiteX997" fmla="*/ 47081 w 51323"/>
                <a:gd name="connsiteY997" fmla="*/ 26040 h 51323"/>
                <a:gd name="connsiteX998" fmla="*/ 46806 w 51323"/>
                <a:gd name="connsiteY998" fmla="*/ 25833 h 51323"/>
                <a:gd name="connsiteX999" fmla="*/ 46686 w 51323"/>
                <a:gd name="connsiteY999" fmla="*/ 25971 h 51323"/>
                <a:gd name="connsiteX1000" fmla="*/ 46549 w 51323"/>
                <a:gd name="connsiteY1000" fmla="*/ 25971 h 51323"/>
                <a:gd name="connsiteX1001" fmla="*/ 46428 w 51323"/>
                <a:gd name="connsiteY1001" fmla="*/ 25559 h 51323"/>
                <a:gd name="connsiteX1002" fmla="*/ 46119 w 51323"/>
                <a:gd name="connsiteY1002" fmla="*/ 25438 h 51323"/>
                <a:gd name="connsiteX1003" fmla="*/ 45913 w 51323"/>
                <a:gd name="connsiteY1003" fmla="*/ 25610 h 51323"/>
                <a:gd name="connsiteX1004" fmla="*/ 45741 w 51323"/>
                <a:gd name="connsiteY1004" fmla="*/ 25610 h 51323"/>
                <a:gd name="connsiteX1005" fmla="*/ 45552 w 51323"/>
                <a:gd name="connsiteY1005" fmla="*/ 25765 h 51323"/>
                <a:gd name="connsiteX1006" fmla="*/ 45432 w 51323"/>
                <a:gd name="connsiteY1006" fmla="*/ 25765 h 51323"/>
                <a:gd name="connsiteX1007" fmla="*/ 45209 w 51323"/>
                <a:gd name="connsiteY1007" fmla="*/ 25679 h 51323"/>
                <a:gd name="connsiteX1008" fmla="*/ 44728 w 51323"/>
                <a:gd name="connsiteY1008" fmla="*/ 25679 h 51323"/>
                <a:gd name="connsiteX1009" fmla="*/ 44453 w 51323"/>
                <a:gd name="connsiteY1009" fmla="*/ 25679 h 51323"/>
                <a:gd name="connsiteX1010" fmla="*/ 43663 w 51323"/>
                <a:gd name="connsiteY1010" fmla="*/ 25404 h 51323"/>
                <a:gd name="connsiteX1011" fmla="*/ 43285 w 51323"/>
                <a:gd name="connsiteY1011" fmla="*/ 25146 h 51323"/>
                <a:gd name="connsiteX1012" fmla="*/ 42804 w 51323"/>
                <a:gd name="connsiteY1012" fmla="*/ 24803 h 51323"/>
                <a:gd name="connsiteX1013" fmla="*/ 42804 w 51323"/>
                <a:gd name="connsiteY1013" fmla="*/ 24803 h 51323"/>
                <a:gd name="connsiteX1014" fmla="*/ 42375 w 51323"/>
                <a:gd name="connsiteY1014" fmla="*/ 24425 h 51323"/>
                <a:gd name="connsiteX1015" fmla="*/ 42272 w 51323"/>
                <a:gd name="connsiteY1015" fmla="*/ 24270 h 51323"/>
                <a:gd name="connsiteX1016" fmla="*/ 42272 w 51323"/>
                <a:gd name="connsiteY1016" fmla="*/ 24270 h 51323"/>
                <a:gd name="connsiteX1017" fmla="*/ 42272 w 51323"/>
                <a:gd name="connsiteY1017" fmla="*/ 24270 h 51323"/>
                <a:gd name="connsiteX1018" fmla="*/ 42100 w 51323"/>
                <a:gd name="connsiteY1018" fmla="*/ 24597 h 51323"/>
                <a:gd name="connsiteX1019" fmla="*/ 42220 w 51323"/>
                <a:gd name="connsiteY1019" fmla="*/ 24597 h 51323"/>
                <a:gd name="connsiteX1020" fmla="*/ 42220 w 51323"/>
                <a:gd name="connsiteY1020" fmla="*/ 24597 h 51323"/>
                <a:gd name="connsiteX1021" fmla="*/ 42220 w 51323"/>
                <a:gd name="connsiteY1021" fmla="*/ 24734 h 51323"/>
                <a:gd name="connsiteX1022" fmla="*/ 42220 w 51323"/>
                <a:gd name="connsiteY1022" fmla="*/ 24734 h 51323"/>
                <a:gd name="connsiteX1023" fmla="*/ 42512 w 51323"/>
                <a:gd name="connsiteY1023" fmla="*/ 25112 h 51323"/>
                <a:gd name="connsiteX1024" fmla="*/ 42770 w 51323"/>
                <a:gd name="connsiteY1024" fmla="*/ 25610 h 51323"/>
                <a:gd name="connsiteX1025" fmla="*/ 42770 w 51323"/>
                <a:gd name="connsiteY1025" fmla="*/ 25610 h 51323"/>
                <a:gd name="connsiteX1026" fmla="*/ 43045 w 51323"/>
                <a:gd name="connsiteY1026" fmla="*/ 25782 h 51323"/>
                <a:gd name="connsiteX1027" fmla="*/ 43165 w 51323"/>
                <a:gd name="connsiteY1027" fmla="*/ 25627 h 51323"/>
                <a:gd name="connsiteX1028" fmla="*/ 43165 w 51323"/>
                <a:gd name="connsiteY1028" fmla="*/ 26108 h 51323"/>
                <a:gd name="connsiteX1029" fmla="*/ 43165 w 51323"/>
                <a:gd name="connsiteY1029" fmla="*/ 26211 h 51323"/>
                <a:gd name="connsiteX1030" fmla="*/ 43165 w 51323"/>
                <a:gd name="connsiteY1030" fmla="*/ 26366 h 51323"/>
                <a:gd name="connsiteX1031" fmla="*/ 43766 w 51323"/>
                <a:gd name="connsiteY1031" fmla="*/ 26091 h 51323"/>
                <a:gd name="connsiteX1032" fmla="*/ 43766 w 51323"/>
                <a:gd name="connsiteY1032" fmla="*/ 26091 h 51323"/>
                <a:gd name="connsiteX1033" fmla="*/ 44058 w 51323"/>
                <a:gd name="connsiteY1033" fmla="*/ 25318 h 51323"/>
                <a:gd name="connsiteX1034" fmla="*/ 44058 w 51323"/>
                <a:gd name="connsiteY1034" fmla="*/ 25318 h 51323"/>
                <a:gd name="connsiteX1035" fmla="*/ 44058 w 51323"/>
                <a:gd name="connsiteY1035" fmla="*/ 25215 h 51323"/>
                <a:gd name="connsiteX1036" fmla="*/ 44058 w 51323"/>
                <a:gd name="connsiteY1036" fmla="*/ 25507 h 51323"/>
                <a:gd name="connsiteX1037" fmla="*/ 44642 w 51323"/>
                <a:gd name="connsiteY1037" fmla="*/ 26091 h 51323"/>
                <a:gd name="connsiteX1038" fmla="*/ 44642 w 51323"/>
                <a:gd name="connsiteY1038" fmla="*/ 27311 h 51323"/>
                <a:gd name="connsiteX1039" fmla="*/ 44642 w 51323"/>
                <a:gd name="connsiteY1039" fmla="*/ 27877 h 51323"/>
                <a:gd name="connsiteX1040" fmla="*/ 44109 w 51323"/>
                <a:gd name="connsiteY1040" fmla="*/ 28376 h 51323"/>
                <a:gd name="connsiteX1041" fmla="*/ 44109 w 51323"/>
                <a:gd name="connsiteY1041" fmla="*/ 28719 h 51323"/>
                <a:gd name="connsiteX1042" fmla="*/ 43457 w 51323"/>
                <a:gd name="connsiteY1042" fmla="*/ 29114 h 51323"/>
                <a:gd name="connsiteX1043" fmla="*/ 42684 w 51323"/>
                <a:gd name="connsiteY1043" fmla="*/ 29767 h 51323"/>
                <a:gd name="connsiteX1044" fmla="*/ 42357 w 51323"/>
                <a:gd name="connsiteY1044" fmla="*/ 29990 h 51323"/>
                <a:gd name="connsiteX1045" fmla="*/ 41791 w 51323"/>
                <a:gd name="connsiteY1045" fmla="*/ 30248 h 51323"/>
                <a:gd name="connsiteX1046" fmla="*/ 41172 w 51323"/>
                <a:gd name="connsiteY1046" fmla="*/ 30626 h 51323"/>
                <a:gd name="connsiteX1047" fmla="*/ 40897 w 51323"/>
                <a:gd name="connsiteY1047" fmla="*/ 29629 h 51323"/>
                <a:gd name="connsiteX1048" fmla="*/ 39850 w 51323"/>
                <a:gd name="connsiteY1048" fmla="*/ 27706 h 51323"/>
                <a:gd name="connsiteX1049" fmla="*/ 39283 w 51323"/>
                <a:gd name="connsiteY1049" fmla="*/ 26606 h 51323"/>
                <a:gd name="connsiteX1050" fmla="*/ 38338 w 51323"/>
                <a:gd name="connsiteY1050" fmla="*/ 24751 h 51323"/>
                <a:gd name="connsiteX1051" fmla="*/ 38201 w 51323"/>
                <a:gd name="connsiteY1051" fmla="*/ 25438 h 51323"/>
                <a:gd name="connsiteX1052" fmla="*/ 37548 w 51323"/>
                <a:gd name="connsiteY1052" fmla="*/ 24717 h 51323"/>
                <a:gd name="connsiteX1053" fmla="*/ 38682 w 51323"/>
                <a:gd name="connsiteY1053" fmla="*/ 26692 h 51323"/>
                <a:gd name="connsiteX1054" fmla="*/ 38682 w 51323"/>
                <a:gd name="connsiteY1054" fmla="*/ 26692 h 51323"/>
                <a:gd name="connsiteX1055" fmla="*/ 38819 w 51323"/>
                <a:gd name="connsiteY1055" fmla="*/ 26830 h 51323"/>
                <a:gd name="connsiteX1056" fmla="*/ 38699 w 51323"/>
                <a:gd name="connsiteY1056" fmla="*/ 26830 h 51323"/>
                <a:gd name="connsiteX1057" fmla="*/ 39317 w 51323"/>
                <a:gd name="connsiteY1057" fmla="*/ 27826 h 51323"/>
                <a:gd name="connsiteX1058" fmla="*/ 39317 w 51323"/>
                <a:gd name="connsiteY1058" fmla="*/ 28376 h 51323"/>
                <a:gd name="connsiteX1059" fmla="*/ 39712 w 51323"/>
                <a:gd name="connsiteY1059" fmla="*/ 28891 h 51323"/>
                <a:gd name="connsiteX1060" fmla="*/ 40021 w 51323"/>
                <a:gd name="connsiteY1060" fmla="*/ 29715 h 51323"/>
                <a:gd name="connsiteX1061" fmla="*/ 40021 w 51323"/>
                <a:gd name="connsiteY1061" fmla="*/ 29801 h 51323"/>
                <a:gd name="connsiteX1062" fmla="*/ 40193 w 51323"/>
                <a:gd name="connsiteY1062" fmla="*/ 29939 h 51323"/>
                <a:gd name="connsiteX1063" fmla="*/ 40932 w 51323"/>
                <a:gd name="connsiteY1063" fmla="*/ 30626 h 51323"/>
                <a:gd name="connsiteX1064" fmla="*/ 41035 w 51323"/>
                <a:gd name="connsiteY1064" fmla="*/ 30746 h 51323"/>
                <a:gd name="connsiteX1065" fmla="*/ 40794 w 51323"/>
                <a:gd name="connsiteY1065" fmla="*/ 31038 h 51323"/>
                <a:gd name="connsiteX1066" fmla="*/ 41327 w 51323"/>
                <a:gd name="connsiteY1066" fmla="*/ 31450 h 51323"/>
                <a:gd name="connsiteX1067" fmla="*/ 42770 w 51323"/>
                <a:gd name="connsiteY1067" fmla="*/ 30901 h 51323"/>
                <a:gd name="connsiteX1068" fmla="*/ 42993 w 51323"/>
                <a:gd name="connsiteY1068" fmla="*/ 30660 h 51323"/>
                <a:gd name="connsiteX1069" fmla="*/ 42993 w 51323"/>
                <a:gd name="connsiteY1069" fmla="*/ 31210 h 51323"/>
                <a:gd name="connsiteX1070" fmla="*/ 42993 w 51323"/>
                <a:gd name="connsiteY1070" fmla="*/ 31210 h 51323"/>
                <a:gd name="connsiteX1071" fmla="*/ 38922 w 51323"/>
                <a:gd name="connsiteY1071" fmla="*/ 37033 h 51323"/>
                <a:gd name="connsiteX1072" fmla="*/ 38802 w 51323"/>
                <a:gd name="connsiteY1072" fmla="*/ 37307 h 51323"/>
                <a:gd name="connsiteX1073" fmla="*/ 38802 w 51323"/>
                <a:gd name="connsiteY1073" fmla="*/ 38012 h 51323"/>
                <a:gd name="connsiteX1074" fmla="*/ 38355 w 51323"/>
                <a:gd name="connsiteY1074" fmla="*/ 39248 h 51323"/>
                <a:gd name="connsiteX1075" fmla="*/ 38355 w 51323"/>
                <a:gd name="connsiteY1075" fmla="*/ 39351 h 51323"/>
                <a:gd name="connsiteX1076" fmla="*/ 37119 w 51323"/>
                <a:gd name="connsiteY1076" fmla="*/ 40193 h 51323"/>
                <a:gd name="connsiteX1077" fmla="*/ 37119 w 51323"/>
                <a:gd name="connsiteY1077" fmla="*/ 40193 h 51323"/>
                <a:gd name="connsiteX1078" fmla="*/ 36311 w 51323"/>
                <a:gd name="connsiteY1078" fmla="*/ 40691 h 51323"/>
                <a:gd name="connsiteX1079" fmla="*/ 36311 w 51323"/>
                <a:gd name="connsiteY1079" fmla="*/ 40880 h 51323"/>
                <a:gd name="connsiteX1080" fmla="*/ 36311 w 51323"/>
                <a:gd name="connsiteY1080" fmla="*/ 41035 h 51323"/>
                <a:gd name="connsiteX1081" fmla="*/ 36311 w 51323"/>
                <a:gd name="connsiteY1081" fmla="*/ 41395 h 51323"/>
                <a:gd name="connsiteX1082" fmla="*/ 36311 w 51323"/>
                <a:gd name="connsiteY1082" fmla="*/ 41292 h 51323"/>
                <a:gd name="connsiteX1083" fmla="*/ 36311 w 51323"/>
                <a:gd name="connsiteY1083" fmla="*/ 41292 h 51323"/>
                <a:gd name="connsiteX1084" fmla="*/ 36311 w 51323"/>
                <a:gd name="connsiteY1084" fmla="*/ 41292 h 51323"/>
                <a:gd name="connsiteX1085" fmla="*/ 36054 w 51323"/>
                <a:gd name="connsiteY1085" fmla="*/ 41705 h 51323"/>
                <a:gd name="connsiteX1086" fmla="*/ 36054 w 51323"/>
                <a:gd name="connsiteY1086" fmla="*/ 41705 h 51323"/>
                <a:gd name="connsiteX1087" fmla="*/ 35006 w 51323"/>
                <a:gd name="connsiteY1087" fmla="*/ 42392 h 51323"/>
                <a:gd name="connsiteX1088" fmla="*/ 35126 w 51323"/>
                <a:gd name="connsiteY1088" fmla="*/ 42392 h 51323"/>
                <a:gd name="connsiteX1089" fmla="*/ 34954 w 51323"/>
                <a:gd name="connsiteY1089" fmla="*/ 42598 h 51323"/>
                <a:gd name="connsiteX1090" fmla="*/ 34954 w 51323"/>
                <a:gd name="connsiteY1090" fmla="*/ 42598 h 51323"/>
                <a:gd name="connsiteX1091" fmla="*/ 32051 w 51323"/>
                <a:gd name="connsiteY1091" fmla="*/ 44315 h 51323"/>
                <a:gd name="connsiteX1092" fmla="*/ 30660 w 51323"/>
                <a:gd name="connsiteY1092" fmla="*/ 44418 h 51323"/>
                <a:gd name="connsiteX1093" fmla="*/ 30660 w 51323"/>
                <a:gd name="connsiteY1093" fmla="*/ 44418 h 51323"/>
                <a:gd name="connsiteX1094" fmla="*/ 30660 w 51323"/>
                <a:gd name="connsiteY1094" fmla="*/ 44418 h 51323"/>
                <a:gd name="connsiteX1095" fmla="*/ 30660 w 51323"/>
                <a:gd name="connsiteY1095" fmla="*/ 44092 h 51323"/>
                <a:gd name="connsiteX1096" fmla="*/ 30660 w 51323"/>
                <a:gd name="connsiteY1096" fmla="*/ 43199 h 51323"/>
                <a:gd name="connsiteX1097" fmla="*/ 29836 w 51323"/>
                <a:gd name="connsiteY1097" fmla="*/ 40296 h 51323"/>
                <a:gd name="connsiteX1098" fmla="*/ 30591 w 51323"/>
                <a:gd name="connsiteY1098" fmla="*/ 38046 h 51323"/>
                <a:gd name="connsiteX1099" fmla="*/ 30471 w 51323"/>
                <a:gd name="connsiteY1099" fmla="*/ 37204 h 51323"/>
                <a:gd name="connsiteX1100" fmla="*/ 30574 w 51323"/>
                <a:gd name="connsiteY1100" fmla="*/ 37204 h 51323"/>
                <a:gd name="connsiteX1101" fmla="*/ 30454 w 51323"/>
                <a:gd name="connsiteY1101" fmla="*/ 37050 h 51323"/>
                <a:gd name="connsiteX1102" fmla="*/ 29423 w 51323"/>
                <a:gd name="connsiteY1102" fmla="*/ 35607 h 51323"/>
                <a:gd name="connsiteX1103" fmla="*/ 29630 w 51323"/>
                <a:gd name="connsiteY1103" fmla="*/ 35298 h 51323"/>
                <a:gd name="connsiteX1104" fmla="*/ 29819 w 51323"/>
                <a:gd name="connsiteY1104" fmla="*/ 35298 h 51323"/>
                <a:gd name="connsiteX1105" fmla="*/ 29647 w 51323"/>
                <a:gd name="connsiteY1105" fmla="*/ 35177 h 51323"/>
                <a:gd name="connsiteX1106" fmla="*/ 29647 w 51323"/>
                <a:gd name="connsiteY1106" fmla="*/ 35040 h 51323"/>
                <a:gd name="connsiteX1107" fmla="*/ 29836 w 51323"/>
                <a:gd name="connsiteY1107" fmla="*/ 34095 h 51323"/>
                <a:gd name="connsiteX1108" fmla="*/ 29612 w 51323"/>
                <a:gd name="connsiteY1108" fmla="*/ 33906 h 51323"/>
                <a:gd name="connsiteX1109" fmla="*/ 29423 w 51323"/>
                <a:gd name="connsiteY1109" fmla="*/ 33906 h 51323"/>
                <a:gd name="connsiteX1110" fmla="*/ 28496 w 51323"/>
                <a:gd name="connsiteY1110" fmla="*/ 34044 h 51323"/>
                <a:gd name="connsiteX1111" fmla="*/ 25937 w 51323"/>
                <a:gd name="connsiteY1111" fmla="*/ 33821 h 51323"/>
                <a:gd name="connsiteX1112" fmla="*/ 22501 w 51323"/>
                <a:gd name="connsiteY1112" fmla="*/ 32687 h 51323"/>
                <a:gd name="connsiteX1113" fmla="*/ 22226 w 51323"/>
                <a:gd name="connsiteY1113" fmla="*/ 32361 h 51323"/>
                <a:gd name="connsiteX1114" fmla="*/ 22226 w 51323"/>
                <a:gd name="connsiteY1114" fmla="*/ 32137 h 51323"/>
                <a:gd name="connsiteX1115" fmla="*/ 21986 w 51323"/>
                <a:gd name="connsiteY1115" fmla="*/ 31828 h 51323"/>
                <a:gd name="connsiteX1116" fmla="*/ 21591 w 51323"/>
                <a:gd name="connsiteY1116" fmla="*/ 31536 h 51323"/>
                <a:gd name="connsiteX1117" fmla="*/ 21436 w 51323"/>
                <a:gd name="connsiteY1117" fmla="*/ 31450 h 51323"/>
                <a:gd name="connsiteX1118" fmla="*/ 21436 w 51323"/>
                <a:gd name="connsiteY1118" fmla="*/ 31450 h 51323"/>
                <a:gd name="connsiteX1119" fmla="*/ 21436 w 51323"/>
                <a:gd name="connsiteY1119" fmla="*/ 31450 h 51323"/>
                <a:gd name="connsiteX1120" fmla="*/ 21436 w 51323"/>
                <a:gd name="connsiteY1120" fmla="*/ 31347 h 51323"/>
                <a:gd name="connsiteX1121" fmla="*/ 21642 w 51323"/>
                <a:gd name="connsiteY1121" fmla="*/ 31347 h 51323"/>
                <a:gd name="connsiteX1122" fmla="*/ 21247 w 51323"/>
                <a:gd name="connsiteY1122" fmla="*/ 31158 h 51323"/>
                <a:gd name="connsiteX1123" fmla="*/ 21041 w 51323"/>
                <a:gd name="connsiteY1123" fmla="*/ 30986 h 51323"/>
                <a:gd name="connsiteX1124" fmla="*/ 21213 w 51323"/>
                <a:gd name="connsiteY1124" fmla="*/ 30986 h 51323"/>
                <a:gd name="connsiteX1125" fmla="*/ 21024 w 51323"/>
                <a:gd name="connsiteY1125" fmla="*/ 30986 h 51323"/>
                <a:gd name="connsiteX1126" fmla="*/ 21024 w 51323"/>
                <a:gd name="connsiteY1126" fmla="*/ 30780 h 51323"/>
                <a:gd name="connsiteX1127" fmla="*/ 21299 w 51323"/>
                <a:gd name="connsiteY1127" fmla="*/ 30780 h 51323"/>
                <a:gd name="connsiteX1128" fmla="*/ 21144 w 51323"/>
                <a:gd name="connsiteY1128" fmla="*/ 30626 h 51323"/>
                <a:gd name="connsiteX1129" fmla="*/ 21144 w 51323"/>
                <a:gd name="connsiteY1129" fmla="*/ 30626 h 51323"/>
                <a:gd name="connsiteX1130" fmla="*/ 20921 w 51323"/>
                <a:gd name="connsiteY1130" fmla="*/ 30299 h 51323"/>
                <a:gd name="connsiteX1131" fmla="*/ 21333 w 51323"/>
                <a:gd name="connsiteY1131" fmla="*/ 28582 h 51323"/>
                <a:gd name="connsiteX1132" fmla="*/ 21436 w 51323"/>
                <a:gd name="connsiteY1132" fmla="*/ 28358 h 51323"/>
                <a:gd name="connsiteX1133" fmla="*/ 21247 w 51323"/>
                <a:gd name="connsiteY1133" fmla="*/ 28135 h 51323"/>
                <a:gd name="connsiteX1134" fmla="*/ 21247 w 51323"/>
                <a:gd name="connsiteY1134" fmla="*/ 28221 h 51323"/>
                <a:gd name="connsiteX1135" fmla="*/ 21591 w 51323"/>
                <a:gd name="connsiteY1135" fmla="*/ 27465 h 51323"/>
                <a:gd name="connsiteX1136" fmla="*/ 23927 w 51323"/>
                <a:gd name="connsiteY1136" fmla="*/ 25043 h 51323"/>
                <a:gd name="connsiteX1137" fmla="*/ 23927 w 51323"/>
                <a:gd name="connsiteY1137" fmla="*/ 24562 h 51323"/>
                <a:gd name="connsiteX1138" fmla="*/ 24133 w 51323"/>
                <a:gd name="connsiteY1138" fmla="*/ 24081 h 51323"/>
                <a:gd name="connsiteX1139" fmla="*/ 25473 w 51323"/>
                <a:gd name="connsiteY1139" fmla="*/ 22896 h 51323"/>
                <a:gd name="connsiteX1140" fmla="*/ 26194 w 51323"/>
                <a:gd name="connsiteY1140" fmla="*/ 23102 h 51323"/>
                <a:gd name="connsiteX1141" fmla="*/ 27586 w 51323"/>
                <a:gd name="connsiteY1141" fmla="*/ 22725 h 51323"/>
                <a:gd name="connsiteX1142" fmla="*/ 29063 w 51323"/>
                <a:gd name="connsiteY1142" fmla="*/ 22587 h 51323"/>
                <a:gd name="connsiteX1143" fmla="*/ 29372 w 51323"/>
                <a:gd name="connsiteY1143" fmla="*/ 22587 h 51323"/>
                <a:gd name="connsiteX1144" fmla="*/ 30162 w 51323"/>
                <a:gd name="connsiteY1144" fmla="*/ 22587 h 51323"/>
                <a:gd name="connsiteX1145" fmla="*/ 30385 w 51323"/>
                <a:gd name="connsiteY1145" fmla="*/ 22776 h 51323"/>
                <a:gd name="connsiteX1146" fmla="*/ 30385 w 51323"/>
                <a:gd name="connsiteY1146" fmla="*/ 23017 h 51323"/>
                <a:gd name="connsiteX1147" fmla="*/ 30385 w 51323"/>
                <a:gd name="connsiteY1147" fmla="*/ 23910 h 51323"/>
                <a:gd name="connsiteX1148" fmla="*/ 30506 w 51323"/>
                <a:gd name="connsiteY1148" fmla="*/ 23910 h 51323"/>
                <a:gd name="connsiteX1149" fmla="*/ 30506 w 51323"/>
                <a:gd name="connsiteY1149" fmla="*/ 23910 h 51323"/>
                <a:gd name="connsiteX1150" fmla="*/ 31622 w 51323"/>
                <a:gd name="connsiteY1150" fmla="*/ 24236 h 51323"/>
                <a:gd name="connsiteX1151" fmla="*/ 34473 w 51323"/>
                <a:gd name="connsiteY1151" fmla="*/ 24236 h 51323"/>
                <a:gd name="connsiteX1152" fmla="*/ 36191 w 51323"/>
                <a:gd name="connsiteY1152" fmla="*/ 24700 h 51323"/>
                <a:gd name="connsiteX1153" fmla="*/ 37084 w 51323"/>
                <a:gd name="connsiteY1153" fmla="*/ 24494 h 51323"/>
                <a:gd name="connsiteX1154" fmla="*/ 37187 w 51323"/>
                <a:gd name="connsiteY1154" fmla="*/ 24494 h 51323"/>
                <a:gd name="connsiteX1155" fmla="*/ 37187 w 51323"/>
                <a:gd name="connsiteY1155" fmla="*/ 24494 h 51323"/>
                <a:gd name="connsiteX1156" fmla="*/ 37462 w 51323"/>
                <a:gd name="connsiteY1156" fmla="*/ 24494 h 51323"/>
                <a:gd name="connsiteX1157" fmla="*/ 37565 w 51323"/>
                <a:gd name="connsiteY1157" fmla="*/ 24665 h 51323"/>
                <a:gd name="connsiteX1158" fmla="*/ 37565 w 51323"/>
                <a:gd name="connsiteY1158" fmla="*/ 24494 h 51323"/>
                <a:gd name="connsiteX1159" fmla="*/ 38407 w 51323"/>
                <a:gd name="connsiteY1159" fmla="*/ 22381 h 51323"/>
                <a:gd name="connsiteX1160" fmla="*/ 37840 w 51323"/>
                <a:gd name="connsiteY1160" fmla="*/ 22656 h 51323"/>
                <a:gd name="connsiteX1161" fmla="*/ 36775 w 51323"/>
                <a:gd name="connsiteY1161" fmla="*/ 22656 h 51323"/>
                <a:gd name="connsiteX1162" fmla="*/ 36277 w 51323"/>
                <a:gd name="connsiteY1162" fmla="*/ 22536 h 51323"/>
                <a:gd name="connsiteX1163" fmla="*/ 36140 w 51323"/>
                <a:gd name="connsiteY1163" fmla="*/ 22536 h 51323"/>
                <a:gd name="connsiteX1164" fmla="*/ 35933 w 51323"/>
                <a:gd name="connsiteY1164" fmla="*/ 22536 h 51323"/>
                <a:gd name="connsiteX1165" fmla="*/ 35727 w 51323"/>
                <a:gd name="connsiteY1165" fmla="*/ 22536 h 51323"/>
                <a:gd name="connsiteX1166" fmla="*/ 35951 w 51323"/>
                <a:gd name="connsiteY1166" fmla="*/ 22398 h 51323"/>
                <a:gd name="connsiteX1167" fmla="*/ 35762 w 51323"/>
                <a:gd name="connsiteY1167" fmla="*/ 22398 h 51323"/>
                <a:gd name="connsiteX1168" fmla="*/ 35401 w 51323"/>
                <a:gd name="connsiteY1168" fmla="*/ 22020 h 51323"/>
                <a:gd name="connsiteX1169" fmla="*/ 35401 w 51323"/>
                <a:gd name="connsiteY1169" fmla="*/ 21831 h 51323"/>
                <a:gd name="connsiteX1170" fmla="*/ 35573 w 51323"/>
                <a:gd name="connsiteY1170" fmla="*/ 21831 h 51323"/>
                <a:gd name="connsiteX1171" fmla="*/ 35573 w 51323"/>
                <a:gd name="connsiteY1171" fmla="*/ 21831 h 51323"/>
                <a:gd name="connsiteX1172" fmla="*/ 35676 w 51323"/>
                <a:gd name="connsiteY1172" fmla="*/ 21694 h 51323"/>
                <a:gd name="connsiteX1173" fmla="*/ 35676 w 51323"/>
                <a:gd name="connsiteY1173" fmla="*/ 21488 h 51323"/>
                <a:gd name="connsiteX1174" fmla="*/ 35779 w 51323"/>
                <a:gd name="connsiteY1174" fmla="*/ 21179 h 51323"/>
                <a:gd name="connsiteX1175" fmla="*/ 36225 w 51323"/>
                <a:gd name="connsiteY1175" fmla="*/ 21179 h 51323"/>
                <a:gd name="connsiteX1176" fmla="*/ 36397 w 51323"/>
                <a:gd name="connsiteY1176" fmla="*/ 20990 h 51323"/>
                <a:gd name="connsiteX1177" fmla="*/ 36827 w 51323"/>
                <a:gd name="connsiteY1177" fmla="*/ 20784 h 51323"/>
                <a:gd name="connsiteX1178" fmla="*/ 37788 w 51323"/>
                <a:gd name="connsiteY1178" fmla="*/ 20371 h 51323"/>
                <a:gd name="connsiteX1179" fmla="*/ 38063 w 51323"/>
                <a:gd name="connsiteY1179" fmla="*/ 20371 h 51323"/>
                <a:gd name="connsiteX1180" fmla="*/ 38287 w 51323"/>
                <a:gd name="connsiteY1180" fmla="*/ 20526 h 51323"/>
                <a:gd name="connsiteX1181" fmla="*/ 37857 w 51323"/>
                <a:gd name="connsiteY1181" fmla="*/ 19049 h 51323"/>
                <a:gd name="connsiteX1182" fmla="*/ 37857 w 51323"/>
                <a:gd name="connsiteY1182" fmla="*/ 18911 h 51323"/>
                <a:gd name="connsiteX1183" fmla="*/ 37977 w 51323"/>
                <a:gd name="connsiteY1183" fmla="*/ 18791 h 51323"/>
                <a:gd name="connsiteX1184" fmla="*/ 37977 w 51323"/>
                <a:gd name="connsiteY1184" fmla="*/ 18551 h 51323"/>
                <a:gd name="connsiteX1185" fmla="*/ 37857 w 51323"/>
                <a:gd name="connsiteY1185" fmla="*/ 18448 h 51323"/>
                <a:gd name="connsiteX1186" fmla="*/ 38029 w 51323"/>
                <a:gd name="connsiteY1186" fmla="*/ 18448 h 51323"/>
                <a:gd name="connsiteX1187" fmla="*/ 38132 w 51323"/>
                <a:gd name="connsiteY1187" fmla="*/ 18224 h 51323"/>
                <a:gd name="connsiteX1188" fmla="*/ 37548 w 51323"/>
                <a:gd name="connsiteY1188" fmla="*/ 18499 h 51323"/>
                <a:gd name="connsiteX1189" fmla="*/ 37359 w 51323"/>
                <a:gd name="connsiteY1189" fmla="*/ 18499 h 51323"/>
                <a:gd name="connsiteX1190" fmla="*/ 37204 w 51323"/>
                <a:gd name="connsiteY1190" fmla="*/ 18499 h 51323"/>
                <a:gd name="connsiteX1191" fmla="*/ 37204 w 51323"/>
                <a:gd name="connsiteY1191" fmla="*/ 18705 h 51323"/>
                <a:gd name="connsiteX1192" fmla="*/ 37204 w 51323"/>
                <a:gd name="connsiteY1192" fmla="*/ 18568 h 51323"/>
                <a:gd name="connsiteX1193" fmla="*/ 36878 w 51323"/>
                <a:gd name="connsiteY1193" fmla="*/ 18791 h 51323"/>
                <a:gd name="connsiteX1194" fmla="*/ 37136 w 51323"/>
                <a:gd name="connsiteY1194" fmla="*/ 18946 h 51323"/>
                <a:gd name="connsiteX1195" fmla="*/ 37136 w 51323"/>
                <a:gd name="connsiteY1195" fmla="*/ 18946 h 51323"/>
                <a:gd name="connsiteX1196" fmla="*/ 37325 w 51323"/>
                <a:gd name="connsiteY1196" fmla="*/ 19049 h 51323"/>
                <a:gd name="connsiteX1197" fmla="*/ 37084 w 51323"/>
                <a:gd name="connsiteY1197" fmla="*/ 18705 h 51323"/>
                <a:gd name="connsiteX1198" fmla="*/ 37393 w 51323"/>
                <a:gd name="connsiteY1198" fmla="*/ 19014 h 51323"/>
                <a:gd name="connsiteX1199" fmla="*/ 37514 w 51323"/>
                <a:gd name="connsiteY1199" fmla="*/ 19014 h 51323"/>
                <a:gd name="connsiteX1200" fmla="*/ 37685 w 51323"/>
                <a:gd name="connsiteY1200" fmla="*/ 18929 h 51323"/>
                <a:gd name="connsiteX1201" fmla="*/ 37462 w 51323"/>
                <a:gd name="connsiteY1201" fmla="*/ 19100 h 51323"/>
                <a:gd name="connsiteX1202" fmla="*/ 36912 w 51323"/>
                <a:gd name="connsiteY1202" fmla="*/ 19100 h 51323"/>
                <a:gd name="connsiteX1203" fmla="*/ 36758 w 51323"/>
                <a:gd name="connsiteY1203" fmla="*/ 18860 h 51323"/>
                <a:gd name="connsiteX1204" fmla="*/ 36500 w 51323"/>
                <a:gd name="connsiteY1204" fmla="*/ 18740 h 51323"/>
                <a:gd name="connsiteX1205" fmla="*/ 36380 w 51323"/>
                <a:gd name="connsiteY1205" fmla="*/ 18619 h 51323"/>
                <a:gd name="connsiteX1206" fmla="*/ 36157 w 51323"/>
                <a:gd name="connsiteY1206" fmla="*/ 18619 h 51323"/>
                <a:gd name="connsiteX1207" fmla="*/ 36449 w 51323"/>
                <a:gd name="connsiteY1207" fmla="*/ 18619 h 51323"/>
                <a:gd name="connsiteX1208" fmla="*/ 36260 w 51323"/>
                <a:gd name="connsiteY1208" fmla="*/ 18619 h 51323"/>
                <a:gd name="connsiteX1209" fmla="*/ 36088 w 51323"/>
                <a:gd name="connsiteY1209" fmla="*/ 18740 h 51323"/>
                <a:gd name="connsiteX1210" fmla="*/ 35916 w 51323"/>
                <a:gd name="connsiteY1210" fmla="*/ 18946 h 51323"/>
                <a:gd name="connsiteX1211" fmla="*/ 35796 w 51323"/>
                <a:gd name="connsiteY1211" fmla="*/ 19083 h 51323"/>
                <a:gd name="connsiteX1212" fmla="*/ 35607 w 51323"/>
                <a:gd name="connsiteY1212" fmla="*/ 19598 h 51323"/>
                <a:gd name="connsiteX1213" fmla="*/ 35607 w 51323"/>
                <a:gd name="connsiteY1213" fmla="*/ 19993 h 51323"/>
                <a:gd name="connsiteX1214" fmla="*/ 35470 w 51323"/>
                <a:gd name="connsiteY1214" fmla="*/ 20251 h 51323"/>
                <a:gd name="connsiteX1215" fmla="*/ 35607 w 51323"/>
                <a:gd name="connsiteY1215" fmla="*/ 20698 h 51323"/>
                <a:gd name="connsiteX1216" fmla="*/ 35899 w 51323"/>
                <a:gd name="connsiteY1216" fmla="*/ 20990 h 51323"/>
                <a:gd name="connsiteX1217" fmla="*/ 35212 w 51323"/>
                <a:gd name="connsiteY1217" fmla="*/ 21333 h 51323"/>
                <a:gd name="connsiteX1218" fmla="*/ 35315 w 51323"/>
                <a:gd name="connsiteY1218" fmla="*/ 21144 h 51323"/>
                <a:gd name="connsiteX1219" fmla="*/ 34731 w 51323"/>
                <a:gd name="connsiteY1219" fmla="*/ 21144 h 51323"/>
                <a:gd name="connsiteX1220" fmla="*/ 34491 w 51323"/>
                <a:gd name="connsiteY1220" fmla="*/ 21230 h 51323"/>
                <a:gd name="connsiteX1221" fmla="*/ 34611 w 51323"/>
                <a:gd name="connsiteY1221" fmla="*/ 21385 h 51323"/>
                <a:gd name="connsiteX1222" fmla="*/ 34439 w 51323"/>
                <a:gd name="connsiteY1222" fmla="*/ 21385 h 51323"/>
                <a:gd name="connsiteX1223" fmla="*/ 34439 w 51323"/>
                <a:gd name="connsiteY1223" fmla="*/ 21471 h 51323"/>
                <a:gd name="connsiteX1224" fmla="*/ 34439 w 51323"/>
                <a:gd name="connsiteY1224" fmla="*/ 21471 h 51323"/>
                <a:gd name="connsiteX1225" fmla="*/ 34164 w 51323"/>
                <a:gd name="connsiteY1225" fmla="*/ 21282 h 51323"/>
                <a:gd name="connsiteX1226" fmla="*/ 34164 w 51323"/>
                <a:gd name="connsiteY1226" fmla="*/ 21522 h 51323"/>
                <a:gd name="connsiteX1227" fmla="*/ 34164 w 51323"/>
                <a:gd name="connsiteY1227" fmla="*/ 21728 h 51323"/>
                <a:gd name="connsiteX1228" fmla="*/ 34164 w 51323"/>
                <a:gd name="connsiteY1228" fmla="*/ 21728 h 51323"/>
                <a:gd name="connsiteX1229" fmla="*/ 34164 w 51323"/>
                <a:gd name="connsiteY1229" fmla="*/ 21831 h 51323"/>
                <a:gd name="connsiteX1230" fmla="*/ 34662 w 51323"/>
                <a:gd name="connsiteY1230" fmla="*/ 22295 h 51323"/>
                <a:gd name="connsiteX1231" fmla="*/ 34336 w 51323"/>
                <a:gd name="connsiteY1231" fmla="*/ 22295 h 51323"/>
                <a:gd name="connsiteX1232" fmla="*/ 34456 w 51323"/>
                <a:gd name="connsiteY1232" fmla="*/ 22467 h 51323"/>
                <a:gd name="connsiteX1233" fmla="*/ 34456 w 51323"/>
                <a:gd name="connsiteY1233" fmla="*/ 22467 h 51323"/>
                <a:gd name="connsiteX1234" fmla="*/ 34456 w 51323"/>
                <a:gd name="connsiteY1234" fmla="*/ 22776 h 51323"/>
                <a:gd name="connsiteX1235" fmla="*/ 34250 w 51323"/>
                <a:gd name="connsiteY1235" fmla="*/ 22776 h 51323"/>
                <a:gd name="connsiteX1236" fmla="*/ 34078 w 51323"/>
                <a:gd name="connsiteY1236" fmla="*/ 22518 h 51323"/>
                <a:gd name="connsiteX1237" fmla="*/ 34078 w 51323"/>
                <a:gd name="connsiteY1237" fmla="*/ 22656 h 51323"/>
                <a:gd name="connsiteX1238" fmla="*/ 33975 w 51323"/>
                <a:gd name="connsiteY1238" fmla="*/ 22398 h 51323"/>
                <a:gd name="connsiteX1239" fmla="*/ 33855 w 51323"/>
                <a:gd name="connsiteY1239" fmla="*/ 22089 h 51323"/>
                <a:gd name="connsiteX1240" fmla="*/ 34353 w 51323"/>
                <a:gd name="connsiteY1240" fmla="*/ 22089 h 51323"/>
                <a:gd name="connsiteX1241" fmla="*/ 33958 w 51323"/>
                <a:gd name="connsiteY1241" fmla="*/ 22089 h 51323"/>
                <a:gd name="connsiteX1242" fmla="*/ 33786 w 51323"/>
                <a:gd name="connsiteY1242" fmla="*/ 22089 h 51323"/>
                <a:gd name="connsiteX1243" fmla="*/ 33065 w 51323"/>
                <a:gd name="connsiteY1243" fmla="*/ 21316 h 51323"/>
                <a:gd name="connsiteX1244" fmla="*/ 33065 w 51323"/>
                <a:gd name="connsiteY1244" fmla="*/ 20732 h 51323"/>
                <a:gd name="connsiteX1245" fmla="*/ 32584 w 51323"/>
                <a:gd name="connsiteY1245" fmla="*/ 20320 h 51323"/>
                <a:gd name="connsiteX1246" fmla="*/ 32275 w 51323"/>
                <a:gd name="connsiteY1246" fmla="*/ 20320 h 51323"/>
                <a:gd name="connsiteX1247" fmla="*/ 32395 w 51323"/>
                <a:gd name="connsiteY1247" fmla="*/ 20320 h 51323"/>
                <a:gd name="connsiteX1248" fmla="*/ 31931 w 51323"/>
                <a:gd name="connsiteY1248" fmla="*/ 20131 h 51323"/>
                <a:gd name="connsiteX1249" fmla="*/ 31742 w 51323"/>
                <a:gd name="connsiteY1249" fmla="*/ 19856 h 51323"/>
                <a:gd name="connsiteX1250" fmla="*/ 31175 w 51323"/>
                <a:gd name="connsiteY1250" fmla="*/ 19633 h 51323"/>
                <a:gd name="connsiteX1251" fmla="*/ 31175 w 51323"/>
                <a:gd name="connsiteY1251" fmla="*/ 19306 h 51323"/>
                <a:gd name="connsiteX1252" fmla="*/ 30746 w 51323"/>
                <a:gd name="connsiteY1252" fmla="*/ 19427 h 51323"/>
                <a:gd name="connsiteX1253" fmla="*/ 31656 w 51323"/>
                <a:gd name="connsiteY1253" fmla="*/ 20681 h 51323"/>
                <a:gd name="connsiteX1254" fmla="*/ 31983 w 51323"/>
                <a:gd name="connsiteY1254" fmla="*/ 20887 h 51323"/>
                <a:gd name="connsiteX1255" fmla="*/ 32807 w 51323"/>
                <a:gd name="connsiteY1255" fmla="*/ 21539 h 51323"/>
                <a:gd name="connsiteX1256" fmla="*/ 32532 w 51323"/>
                <a:gd name="connsiteY1256" fmla="*/ 21333 h 51323"/>
                <a:gd name="connsiteX1257" fmla="*/ 32309 w 51323"/>
                <a:gd name="connsiteY1257" fmla="*/ 21625 h 51323"/>
                <a:gd name="connsiteX1258" fmla="*/ 32309 w 51323"/>
                <a:gd name="connsiteY1258" fmla="*/ 22141 h 51323"/>
                <a:gd name="connsiteX1259" fmla="*/ 32086 w 51323"/>
                <a:gd name="connsiteY1259" fmla="*/ 22141 h 51323"/>
                <a:gd name="connsiteX1260" fmla="*/ 31794 w 51323"/>
                <a:gd name="connsiteY1260" fmla="*/ 21402 h 51323"/>
                <a:gd name="connsiteX1261" fmla="*/ 31656 w 51323"/>
                <a:gd name="connsiteY1261" fmla="*/ 21230 h 51323"/>
                <a:gd name="connsiteX1262" fmla="*/ 31330 w 51323"/>
                <a:gd name="connsiteY1262" fmla="*/ 21024 h 51323"/>
                <a:gd name="connsiteX1263" fmla="*/ 29080 w 51323"/>
                <a:gd name="connsiteY1263" fmla="*/ 20217 h 51323"/>
                <a:gd name="connsiteX1264" fmla="*/ 28633 w 51323"/>
                <a:gd name="connsiteY1264" fmla="*/ 20114 h 51323"/>
                <a:gd name="connsiteX1265" fmla="*/ 27448 w 51323"/>
                <a:gd name="connsiteY1265" fmla="*/ 21093 h 51323"/>
                <a:gd name="connsiteX1266" fmla="*/ 27448 w 51323"/>
                <a:gd name="connsiteY1266" fmla="*/ 21213 h 51323"/>
                <a:gd name="connsiteX1267" fmla="*/ 27191 w 51323"/>
                <a:gd name="connsiteY1267" fmla="*/ 22003 h 51323"/>
                <a:gd name="connsiteX1268" fmla="*/ 26847 w 51323"/>
                <a:gd name="connsiteY1268" fmla="*/ 22398 h 51323"/>
                <a:gd name="connsiteX1269" fmla="*/ 25421 w 51323"/>
                <a:gd name="connsiteY1269" fmla="*/ 22896 h 51323"/>
                <a:gd name="connsiteX1270" fmla="*/ 24700 w 51323"/>
                <a:gd name="connsiteY1270" fmla="*/ 22501 h 51323"/>
                <a:gd name="connsiteX1271" fmla="*/ 24408 w 51323"/>
                <a:gd name="connsiteY1271" fmla="*/ 22501 h 51323"/>
                <a:gd name="connsiteX1272" fmla="*/ 24511 w 51323"/>
                <a:gd name="connsiteY1272" fmla="*/ 21934 h 51323"/>
                <a:gd name="connsiteX1273" fmla="*/ 24511 w 51323"/>
                <a:gd name="connsiteY1273" fmla="*/ 21763 h 51323"/>
                <a:gd name="connsiteX1274" fmla="*/ 24631 w 51323"/>
                <a:gd name="connsiteY1274" fmla="*/ 21144 h 51323"/>
                <a:gd name="connsiteX1275" fmla="*/ 24734 w 51323"/>
                <a:gd name="connsiteY1275" fmla="*/ 20457 h 51323"/>
                <a:gd name="connsiteX1276" fmla="*/ 24734 w 51323"/>
                <a:gd name="connsiteY1276" fmla="*/ 20457 h 51323"/>
                <a:gd name="connsiteX1277" fmla="*/ 24734 w 51323"/>
                <a:gd name="connsiteY1277" fmla="*/ 20337 h 51323"/>
                <a:gd name="connsiteX1278" fmla="*/ 24734 w 51323"/>
                <a:gd name="connsiteY1278" fmla="*/ 20234 h 51323"/>
                <a:gd name="connsiteX1279" fmla="*/ 25026 w 51323"/>
                <a:gd name="connsiteY1279" fmla="*/ 20045 h 51323"/>
                <a:gd name="connsiteX1280" fmla="*/ 25490 w 51323"/>
                <a:gd name="connsiteY1280" fmla="*/ 20045 h 51323"/>
                <a:gd name="connsiteX1281" fmla="*/ 26607 w 51323"/>
                <a:gd name="connsiteY1281" fmla="*/ 20131 h 51323"/>
                <a:gd name="connsiteX1282" fmla="*/ 27276 w 51323"/>
                <a:gd name="connsiteY1282" fmla="*/ 19564 h 51323"/>
                <a:gd name="connsiteX1283" fmla="*/ 27053 w 51323"/>
                <a:gd name="connsiteY1283" fmla="*/ 19289 h 51323"/>
                <a:gd name="connsiteX1284" fmla="*/ 26813 w 51323"/>
                <a:gd name="connsiteY1284" fmla="*/ 18860 h 51323"/>
                <a:gd name="connsiteX1285" fmla="*/ 26950 w 51323"/>
                <a:gd name="connsiteY1285" fmla="*/ 18722 h 51323"/>
                <a:gd name="connsiteX1286" fmla="*/ 26727 w 51323"/>
                <a:gd name="connsiteY1286" fmla="*/ 18551 h 51323"/>
                <a:gd name="connsiteX1287" fmla="*/ 26229 w 51323"/>
                <a:gd name="connsiteY1287" fmla="*/ 18465 h 51323"/>
                <a:gd name="connsiteX1288" fmla="*/ 26229 w 51323"/>
                <a:gd name="connsiteY1288" fmla="*/ 18345 h 51323"/>
                <a:gd name="connsiteX1289" fmla="*/ 26229 w 51323"/>
                <a:gd name="connsiteY1289" fmla="*/ 18345 h 51323"/>
                <a:gd name="connsiteX1290" fmla="*/ 26229 w 51323"/>
                <a:gd name="connsiteY1290" fmla="*/ 18345 h 51323"/>
                <a:gd name="connsiteX1291" fmla="*/ 26555 w 51323"/>
                <a:gd name="connsiteY1291" fmla="*/ 18121 h 51323"/>
                <a:gd name="connsiteX1292" fmla="*/ 27019 w 51323"/>
                <a:gd name="connsiteY1292" fmla="*/ 18241 h 51323"/>
                <a:gd name="connsiteX1293" fmla="*/ 26899 w 51323"/>
                <a:gd name="connsiteY1293" fmla="*/ 17812 h 51323"/>
                <a:gd name="connsiteX1294" fmla="*/ 27105 w 51323"/>
                <a:gd name="connsiteY1294" fmla="*/ 17812 h 51323"/>
                <a:gd name="connsiteX1295" fmla="*/ 27500 w 51323"/>
                <a:gd name="connsiteY1295" fmla="*/ 17812 h 51323"/>
                <a:gd name="connsiteX1296" fmla="*/ 27775 w 51323"/>
                <a:gd name="connsiteY1296" fmla="*/ 17606 h 51323"/>
                <a:gd name="connsiteX1297" fmla="*/ 27895 w 51323"/>
                <a:gd name="connsiteY1297" fmla="*/ 17280 h 51323"/>
                <a:gd name="connsiteX1298" fmla="*/ 28444 w 51323"/>
                <a:gd name="connsiteY1298" fmla="*/ 17125 h 51323"/>
                <a:gd name="connsiteX1299" fmla="*/ 28444 w 51323"/>
                <a:gd name="connsiteY1299" fmla="*/ 17125 h 51323"/>
                <a:gd name="connsiteX1300" fmla="*/ 28547 w 51323"/>
                <a:gd name="connsiteY1300" fmla="*/ 17022 h 51323"/>
                <a:gd name="connsiteX1301" fmla="*/ 29286 w 51323"/>
                <a:gd name="connsiteY1301" fmla="*/ 16438 h 51323"/>
                <a:gd name="connsiteX1302" fmla="*/ 29458 w 51323"/>
                <a:gd name="connsiteY1302" fmla="*/ 16438 h 51323"/>
                <a:gd name="connsiteX1303" fmla="*/ 29595 w 51323"/>
                <a:gd name="connsiteY1303" fmla="*/ 16438 h 51323"/>
                <a:gd name="connsiteX1304" fmla="*/ 29956 w 51323"/>
                <a:gd name="connsiteY1304" fmla="*/ 16301 h 51323"/>
                <a:gd name="connsiteX1305" fmla="*/ 29389 w 51323"/>
                <a:gd name="connsiteY1305" fmla="*/ 15115 h 51323"/>
                <a:gd name="connsiteX1306" fmla="*/ 29664 w 51323"/>
                <a:gd name="connsiteY1306" fmla="*/ 15115 h 51323"/>
                <a:gd name="connsiteX1307" fmla="*/ 30025 w 51323"/>
                <a:gd name="connsiteY1307" fmla="*/ 15115 h 51323"/>
                <a:gd name="connsiteX1308" fmla="*/ 29922 w 51323"/>
                <a:gd name="connsiteY1308" fmla="*/ 16009 h 51323"/>
                <a:gd name="connsiteX1309" fmla="*/ 30059 w 51323"/>
                <a:gd name="connsiteY1309" fmla="*/ 16094 h 51323"/>
                <a:gd name="connsiteX1310" fmla="*/ 30883 w 51323"/>
                <a:gd name="connsiteY1310" fmla="*/ 16094 h 51323"/>
                <a:gd name="connsiteX1311" fmla="*/ 32103 w 51323"/>
                <a:gd name="connsiteY1311" fmla="*/ 15768 h 51323"/>
                <a:gd name="connsiteX1312" fmla="*/ 32326 w 51323"/>
                <a:gd name="connsiteY1312" fmla="*/ 15768 h 51323"/>
                <a:gd name="connsiteX1313" fmla="*/ 32189 w 51323"/>
                <a:gd name="connsiteY1313" fmla="*/ 15905 h 51323"/>
                <a:gd name="connsiteX1314" fmla="*/ 32704 w 51323"/>
                <a:gd name="connsiteY1314" fmla="*/ 14497 h 51323"/>
                <a:gd name="connsiteX1315" fmla="*/ 33031 w 51323"/>
                <a:gd name="connsiteY1315" fmla="*/ 14222 h 51323"/>
                <a:gd name="connsiteX1316" fmla="*/ 32842 w 51323"/>
                <a:gd name="connsiteY1316" fmla="*/ 14068 h 51323"/>
                <a:gd name="connsiteX1317" fmla="*/ 32842 w 51323"/>
                <a:gd name="connsiteY1317" fmla="*/ 13690 h 51323"/>
                <a:gd name="connsiteX1318" fmla="*/ 32979 w 51323"/>
                <a:gd name="connsiteY1318" fmla="*/ 13690 h 51323"/>
                <a:gd name="connsiteX1319" fmla="*/ 33615 w 51323"/>
                <a:gd name="connsiteY1319" fmla="*/ 13793 h 51323"/>
                <a:gd name="connsiteX1320" fmla="*/ 33752 w 51323"/>
                <a:gd name="connsiteY1320" fmla="*/ 13466 h 51323"/>
                <a:gd name="connsiteX1321" fmla="*/ 33546 w 51323"/>
                <a:gd name="connsiteY1321" fmla="*/ 13192 h 51323"/>
                <a:gd name="connsiteX1322" fmla="*/ 33408 w 51323"/>
                <a:gd name="connsiteY1322" fmla="*/ 13192 h 51323"/>
                <a:gd name="connsiteX1323" fmla="*/ 33031 w 51323"/>
                <a:gd name="connsiteY1323" fmla="*/ 13312 h 51323"/>
                <a:gd name="connsiteX1324" fmla="*/ 33031 w 51323"/>
                <a:gd name="connsiteY1324" fmla="*/ 13312 h 51323"/>
                <a:gd name="connsiteX1325" fmla="*/ 33031 w 51323"/>
                <a:gd name="connsiteY1325" fmla="*/ 13312 h 51323"/>
                <a:gd name="connsiteX1326" fmla="*/ 32567 w 51323"/>
                <a:gd name="connsiteY1326" fmla="*/ 13621 h 51323"/>
                <a:gd name="connsiteX1327" fmla="*/ 32172 w 51323"/>
                <a:gd name="connsiteY1327" fmla="*/ 13260 h 51323"/>
                <a:gd name="connsiteX1328" fmla="*/ 31914 w 51323"/>
                <a:gd name="connsiteY1328" fmla="*/ 12058 h 51323"/>
                <a:gd name="connsiteX1329" fmla="*/ 32017 w 51323"/>
                <a:gd name="connsiteY1329" fmla="*/ 12058 h 51323"/>
                <a:gd name="connsiteX1330" fmla="*/ 32017 w 51323"/>
                <a:gd name="connsiteY1330" fmla="*/ 11817 h 51323"/>
                <a:gd name="connsiteX1331" fmla="*/ 32309 w 51323"/>
                <a:gd name="connsiteY1331" fmla="*/ 11457 h 51323"/>
                <a:gd name="connsiteX1332" fmla="*/ 31502 w 51323"/>
                <a:gd name="connsiteY1332" fmla="*/ 11182 h 51323"/>
                <a:gd name="connsiteX1333" fmla="*/ 31656 w 51323"/>
                <a:gd name="connsiteY1333" fmla="*/ 11714 h 51323"/>
                <a:gd name="connsiteX1334" fmla="*/ 31038 w 51323"/>
                <a:gd name="connsiteY1334" fmla="*/ 12590 h 51323"/>
                <a:gd name="connsiteX1335" fmla="*/ 31175 w 51323"/>
                <a:gd name="connsiteY1335" fmla="*/ 12968 h 51323"/>
                <a:gd name="connsiteX1336" fmla="*/ 31382 w 51323"/>
                <a:gd name="connsiteY1336" fmla="*/ 13793 h 51323"/>
                <a:gd name="connsiteX1337" fmla="*/ 31210 w 51323"/>
                <a:gd name="connsiteY1337" fmla="*/ 13913 h 51323"/>
                <a:gd name="connsiteX1338" fmla="*/ 31485 w 51323"/>
                <a:gd name="connsiteY1338" fmla="*/ 14050 h 51323"/>
                <a:gd name="connsiteX1339" fmla="*/ 31364 w 51323"/>
                <a:gd name="connsiteY1339" fmla="*/ 14188 h 51323"/>
                <a:gd name="connsiteX1340" fmla="*/ 31364 w 51323"/>
                <a:gd name="connsiteY1340" fmla="*/ 14342 h 51323"/>
                <a:gd name="connsiteX1341" fmla="*/ 31364 w 51323"/>
                <a:gd name="connsiteY1341" fmla="*/ 14514 h 51323"/>
                <a:gd name="connsiteX1342" fmla="*/ 31090 w 51323"/>
                <a:gd name="connsiteY1342" fmla="*/ 15236 h 51323"/>
                <a:gd name="connsiteX1343" fmla="*/ 30162 w 51323"/>
                <a:gd name="connsiteY1343" fmla="*/ 14050 h 51323"/>
                <a:gd name="connsiteX1344" fmla="*/ 29939 w 51323"/>
                <a:gd name="connsiteY1344" fmla="*/ 13810 h 51323"/>
                <a:gd name="connsiteX1345" fmla="*/ 29939 w 51323"/>
                <a:gd name="connsiteY1345" fmla="*/ 14102 h 51323"/>
                <a:gd name="connsiteX1346" fmla="*/ 29733 w 51323"/>
                <a:gd name="connsiteY1346" fmla="*/ 13965 h 51323"/>
                <a:gd name="connsiteX1347" fmla="*/ 29595 w 51323"/>
                <a:gd name="connsiteY1347" fmla="*/ 14291 h 51323"/>
                <a:gd name="connsiteX1348" fmla="*/ 29183 w 51323"/>
                <a:gd name="connsiteY1348" fmla="*/ 14428 h 51323"/>
                <a:gd name="connsiteX1349" fmla="*/ 29183 w 51323"/>
                <a:gd name="connsiteY1349" fmla="*/ 14102 h 51323"/>
                <a:gd name="connsiteX1350" fmla="*/ 29011 w 51323"/>
                <a:gd name="connsiteY1350" fmla="*/ 13879 h 51323"/>
                <a:gd name="connsiteX1351" fmla="*/ 29011 w 51323"/>
                <a:gd name="connsiteY1351" fmla="*/ 13879 h 51323"/>
                <a:gd name="connsiteX1352" fmla="*/ 29166 w 51323"/>
                <a:gd name="connsiteY1352" fmla="*/ 13776 h 51323"/>
                <a:gd name="connsiteX1353" fmla="*/ 29166 w 51323"/>
                <a:gd name="connsiteY1353" fmla="*/ 13655 h 51323"/>
                <a:gd name="connsiteX1354" fmla="*/ 29164 w 51323"/>
                <a:gd name="connsiteY1354" fmla="*/ 13485 h 51323"/>
                <a:gd name="connsiteX1355" fmla="*/ 29166 w 51323"/>
                <a:gd name="connsiteY1355" fmla="*/ 13484 h 51323"/>
                <a:gd name="connsiteX1356" fmla="*/ 28943 w 51323"/>
                <a:gd name="connsiteY1356" fmla="*/ 13484 h 51323"/>
                <a:gd name="connsiteX1357" fmla="*/ 28943 w 51323"/>
                <a:gd name="connsiteY1357" fmla="*/ 13381 h 51323"/>
                <a:gd name="connsiteX1358" fmla="*/ 29355 w 51323"/>
                <a:gd name="connsiteY1358" fmla="*/ 13157 h 51323"/>
                <a:gd name="connsiteX1359" fmla="*/ 28994 w 51323"/>
                <a:gd name="connsiteY1359" fmla="*/ 13157 h 51323"/>
                <a:gd name="connsiteX1360" fmla="*/ 29183 w 51323"/>
                <a:gd name="connsiteY1360" fmla="*/ 13020 h 51323"/>
                <a:gd name="connsiteX1361" fmla="*/ 29046 w 51323"/>
                <a:gd name="connsiteY1361" fmla="*/ 12917 h 51323"/>
                <a:gd name="connsiteX1362" fmla="*/ 29183 w 51323"/>
                <a:gd name="connsiteY1362" fmla="*/ 12917 h 51323"/>
                <a:gd name="connsiteX1363" fmla="*/ 29183 w 51323"/>
                <a:gd name="connsiteY1363" fmla="*/ 12797 h 51323"/>
                <a:gd name="connsiteX1364" fmla="*/ 29441 w 51323"/>
                <a:gd name="connsiteY1364" fmla="*/ 12797 h 51323"/>
                <a:gd name="connsiteX1365" fmla="*/ 29578 w 51323"/>
                <a:gd name="connsiteY1365" fmla="*/ 12797 h 51323"/>
                <a:gd name="connsiteX1366" fmla="*/ 29578 w 51323"/>
                <a:gd name="connsiteY1366" fmla="*/ 12676 h 51323"/>
                <a:gd name="connsiteX1367" fmla="*/ 29767 w 51323"/>
                <a:gd name="connsiteY1367" fmla="*/ 12676 h 51323"/>
                <a:gd name="connsiteX1368" fmla="*/ 30059 w 51323"/>
                <a:gd name="connsiteY1368" fmla="*/ 12298 h 51323"/>
                <a:gd name="connsiteX1369" fmla="*/ 29801 w 51323"/>
                <a:gd name="connsiteY1369" fmla="*/ 12419 h 51323"/>
                <a:gd name="connsiteX1370" fmla="*/ 29801 w 51323"/>
                <a:gd name="connsiteY1370" fmla="*/ 12195 h 51323"/>
                <a:gd name="connsiteX1371" fmla="*/ 30145 w 51323"/>
                <a:gd name="connsiteY1371" fmla="*/ 11766 h 51323"/>
                <a:gd name="connsiteX1372" fmla="*/ 30145 w 51323"/>
                <a:gd name="connsiteY1372" fmla="*/ 11611 h 51323"/>
                <a:gd name="connsiteX1373" fmla="*/ 30145 w 51323"/>
                <a:gd name="connsiteY1373" fmla="*/ 11525 h 51323"/>
                <a:gd name="connsiteX1374" fmla="*/ 30145 w 51323"/>
                <a:gd name="connsiteY1374" fmla="*/ 11337 h 51323"/>
                <a:gd name="connsiteX1375" fmla="*/ 30025 w 51323"/>
                <a:gd name="connsiteY1375" fmla="*/ 11148 h 51323"/>
                <a:gd name="connsiteX1376" fmla="*/ 30334 w 51323"/>
                <a:gd name="connsiteY1376" fmla="*/ 10976 h 51323"/>
                <a:gd name="connsiteX1377" fmla="*/ 30334 w 51323"/>
                <a:gd name="connsiteY1377" fmla="*/ 10838 h 51323"/>
                <a:gd name="connsiteX1378" fmla="*/ 30334 w 51323"/>
                <a:gd name="connsiteY1378" fmla="*/ 10684 h 51323"/>
                <a:gd name="connsiteX1379" fmla="*/ 30334 w 51323"/>
                <a:gd name="connsiteY1379" fmla="*/ 10478 h 51323"/>
                <a:gd name="connsiteX1380" fmla="*/ 30506 w 51323"/>
                <a:gd name="connsiteY1380" fmla="*/ 10478 h 51323"/>
                <a:gd name="connsiteX1381" fmla="*/ 30506 w 51323"/>
                <a:gd name="connsiteY1381" fmla="*/ 10323 h 51323"/>
                <a:gd name="connsiteX1382" fmla="*/ 30506 w 51323"/>
                <a:gd name="connsiteY1382" fmla="*/ 10220 h 51323"/>
                <a:gd name="connsiteX1383" fmla="*/ 30609 w 51323"/>
                <a:gd name="connsiteY1383" fmla="*/ 10117 h 51323"/>
                <a:gd name="connsiteX1384" fmla="*/ 30609 w 51323"/>
                <a:gd name="connsiteY1384" fmla="*/ 10117 h 51323"/>
                <a:gd name="connsiteX1385" fmla="*/ 30609 w 51323"/>
                <a:gd name="connsiteY1385" fmla="*/ 10117 h 51323"/>
                <a:gd name="connsiteX1386" fmla="*/ 30609 w 51323"/>
                <a:gd name="connsiteY1386" fmla="*/ 10117 h 51323"/>
                <a:gd name="connsiteX1387" fmla="*/ 30798 w 51323"/>
                <a:gd name="connsiteY1387" fmla="*/ 10117 h 51323"/>
                <a:gd name="connsiteX1388" fmla="*/ 30798 w 51323"/>
                <a:gd name="connsiteY1388" fmla="*/ 9739 h 51323"/>
                <a:gd name="connsiteX1389" fmla="*/ 31124 w 51323"/>
                <a:gd name="connsiteY1389" fmla="*/ 9894 h 51323"/>
                <a:gd name="connsiteX1390" fmla="*/ 31124 w 51323"/>
                <a:gd name="connsiteY1390" fmla="*/ 9619 h 51323"/>
                <a:gd name="connsiteX1391" fmla="*/ 31124 w 51323"/>
                <a:gd name="connsiteY1391" fmla="*/ 9619 h 51323"/>
                <a:gd name="connsiteX1392" fmla="*/ 31124 w 51323"/>
                <a:gd name="connsiteY1392" fmla="*/ 9619 h 51323"/>
                <a:gd name="connsiteX1393" fmla="*/ 31261 w 51323"/>
                <a:gd name="connsiteY1393" fmla="*/ 9619 h 51323"/>
                <a:gd name="connsiteX1394" fmla="*/ 31450 w 51323"/>
                <a:gd name="connsiteY1394" fmla="*/ 9499 h 51323"/>
                <a:gd name="connsiteX1395" fmla="*/ 31553 w 51323"/>
                <a:gd name="connsiteY1395" fmla="*/ 9842 h 51323"/>
                <a:gd name="connsiteX1396" fmla="*/ 31674 w 51323"/>
                <a:gd name="connsiteY1396" fmla="*/ 9842 h 51323"/>
                <a:gd name="connsiteX1397" fmla="*/ 31845 w 51323"/>
                <a:gd name="connsiteY1397" fmla="*/ 9842 h 51323"/>
                <a:gd name="connsiteX1398" fmla="*/ 31742 w 51323"/>
                <a:gd name="connsiteY1398" fmla="*/ 10031 h 51323"/>
                <a:gd name="connsiteX1399" fmla="*/ 32000 w 51323"/>
                <a:gd name="connsiteY1399" fmla="*/ 10220 h 51323"/>
                <a:gd name="connsiteX1400" fmla="*/ 32275 w 51323"/>
                <a:gd name="connsiteY1400" fmla="*/ 10220 h 51323"/>
                <a:gd name="connsiteX1401" fmla="*/ 32275 w 51323"/>
                <a:gd name="connsiteY1401" fmla="*/ 10048 h 51323"/>
                <a:gd name="connsiteX1402" fmla="*/ 32378 w 51323"/>
                <a:gd name="connsiteY1402" fmla="*/ 10048 h 51323"/>
                <a:gd name="connsiteX1403" fmla="*/ 32584 w 51323"/>
                <a:gd name="connsiteY1403" fmla="*/ 10220 h 51323"/>
                <a:gd name="connsiteX1404" fmla="*/ 33683 w 51323"/>
                <a:gd name="connsiteY1404" fmla="*/ 10529 h 51323"/>
                <a:gd name="connsiteX1405" fmla="*/ 33804 w 51323"/>
                <a:gd name="connsiteY1405" fmla="*/ 10529 h 51323"/>
                <a:gd name="connsiteX1406" fmla="*/ 33597 w 51323"/>
                <a:gd name="connsiteY1406" fmla="*/ 11354 h 51323"/>
                <a:gd name="connsiteX1407" fmla="*/ 33426 w 51323"/>
                <a:gd name="connsiteY1407" fmla="*/ 11354 h 51323"/>
                <a:gd name="connsiteX1408" fmla="*/ 33065 w 51323"/>
                <a:gd name="connsiteY1408" fmla="*/ 11354 h 51323"/>
                <a:gd name="connsiteX1409" fmla="*/ 33357 w 51323"/>
                <a:gd name="connsiteY1409" fmla="*/ 11663 h 51323"/>
                <a:gd name="connsiteX1410" fmla="*/ 34576 w 51323"/>
                <a:gd name="connsiteY1410" fmla="*/ 12333 h 51323"/>
                <a:gd name="connsiteX1411" fmla="*/ 34250 w 51323"/>
                <a:gd name="connsiteY1411" fmla="*/ 12006 h 51323"/>
                <a:gd name="connsiteX1412" fmla="*/ 34972 w 51323"/>
                <a:gd name="connsiteY1412" fmla="*/ 11474 h 51323"/>
                <a:gd name="connsiteX1413" fmla="*/ 35143 w 51323"/>
                <a:gd name="connsiteY1413" fmla="*/ 11474 h 51323"/>
                <a:gd name="connsiteX1414" fmla="*/ 34181 w 51323"/>
                <a:gd name="connsiteY1414" fmla="*/ 10340 h 51323"/>
                <a:gd name="connsiteX1415" fmla="*/ 34800 w 51323"/>
                <a:gd name="connsiteY1415" fmla="*/ 10753 h 51323"/>
                <a:gd name="connsiteX1416" fmla="*/ 35143 w 51323"/>
                <a:gd name="connsiteY1416" fmla="*/ 10529 h 51323"/>
                <a:gd name="connsiteX1417" fmla="*/ 35401 w 51323"/>
                <a:gd name="connsiteY1417" fmla="*/ 10289 h 51323"/>
                <a:gd name="connsiteX1418" fmla="*/ 35401 w 51323"/>
                <a:gd name="connsiteY1418" fmla="*/ 10151 h 51323"/>
                <a:gd name="connsiteX1419" fmla="*/ 35727 w 51323"/>
                <a:gd name="connsiteY1419" fmla="*/ 10306 h 51323"/>
                <a:gd name="connsiteX1420" fmla="*/ 35727 w 51323"/>
                <a:gd name="connsiteY1420" fmla="*/ 10306 h 51323"/>
                <a:gd name="connsiteX1421" fmla="*/ 35830 w 51323"/>
                <a:gd name="connsiteY1421" fmla="*/ 9842 h 51323"/>
                <a:gd name="connsiteX1422" fmla="*/ 36019 w 51323"/>
                <a:gd name="connsiteY1422" fmla="*/ 9945 h 51323"/>
                <a:gd name="connsiteX1423" fmla="*/ 36122 w 51323"/>
                <a:gd name="connsiteY1423" fmla="*/ 9945 h 51323"/>
                <a:gd name="connsiteX1424" fmla="*/ 35848 w 51323"/>
                <a:gd name="connsiteY1424" fmla="*/ 9773 h 51323"/>
                <a:gd name="connsiteX1425" fmla="*/ 35848 w 51323"/>
                <a:gd name="connsiteY1425" fmla="*/ 9773 h 51323"/>
                <a:gd name="connsiteX1426" fmla="*/ 36981 w 51323"/>
                <a:gd name="connsiteY1426" fmla="*/ 9894 h 51323"/>
                <a:gd name="connsiteX1427" fmla="*/ 36260 w 51323"/>
                <a:gd name="connsiteY1427" fmla="*/ 9361 h 51323"/>
                <a:gd name="connsiteX1428" fmla="*/ 36260 w 51323"/>
                <a:gd name="connsiteY1428" fmla="*/ 9361 h 51323"/>
                <a:gd name="connsiteX1429" fmla="*/ 36140 w 51323"/>
                <a:gd name="connsiteY1429" fmla="*/ 9361 h 51323"/>
                <a:gd name="connsiteX1430" fmla="*/ 36140 w 51323"/>
                <a:gd name="connsiteY1430" fmla="*/ 9361 h 51323"/>
                <a:gd name="connsiteX1431" fmla="*/ 35882 w 51323"/>
                <a:gd name="connsiteY1431" fmla="*/ 9155 h 51323"/>
                <a:gd name="connsiteX1432" fmla="*/ 35727 w 51323"/>
                <a:gd name="connsiteY1432" fmla="*/ 8983 h 51323"/>
                <a:gd name="connsiteX1433" fmla="*/ 34594 w 51323"/>
                <a:gd name="connsiteY1433" fmla="*/ 7884 h 51323"/>
                <a:gd name="connsiteX1434" fmla="*/ 37136 w 51323"/>
                <a:gd name="connsiteY1434" fmla="*/ 9602 h 51323"/>
                <a:gd name="connsiteX1435" fmla="*/ 37136 w 51323"/>
                <a:gd name="connsiteY1435" fmla="*/ 9602 h 51323"/>
                <a:gd name="connsiteX1436" fmla="*/ 37806 w 51323"/>
                <a:gd name="connsiteY1436" fmla="*/ 10289 h 51323"/>
                <a:gd name="connsiteX1437" fmla="*/ 37806 w 51323"/>
                <a:gd name="connsiteY1437" fmla="*/ 10289 h 51323"/>
                <a:gd name="connsiteX1438" fmla="*/ 37806 w 51323"/>
                <a:gd name="connsiteY1438" fmla="*/ 10289 h 51323"/>
                <a:gd name="connsiteX1439" fmla="*/ 37703 w 51323"/>
                <a:gd name="connsiteY1439" fmla="*/ 10426 h 51323"/>
                <a:gd name="connsiteX1440" fmla="*/ 37101 w 51323"/>
                <a:gd name="connsiteY1440" fmla="*/ 9275 h 51323"/>
                <a:gd name="connsiteX1441" fmla="*/ 37101 w 51323"/>
                <a:gd name="connsiteY1441" fmla="*/ 9275 h 51323"/>
                <a:gd name="connsiteX1442" fmla="*/ 34851 w 51323"/>
                <a:gd name="connsiteY1442" fmla="*/ 7850 h 51323"/>
                <a:gd name="connsiteX1443" fmla="*/ 35933 w 51323"/>
                <a:gd name="connsiteY1443" fmla="*/ 8451 h 51323"/>
                <a:gd name="connsiteX1444" fmla="*/ 36105 w 51323"/>
                <a:gd name="connsiteY1444" fmla="*/ 8451 h 51323"/>
                <a:gd name="connsiteX1445" fmla="*/ 35367 w 51323"/>
                <a:gd name="connsiteY1445" fmla="*/ 8125 h 51323"/>
                <a:gd name="connsiteX1446" fmla="*/ 35367 w 51323"/>
                <a:gd name="connsiteY1446" fmla="*/ 8039 h 51323"/>
                <a:gd name="connsiteX1447" fmla="*/ 35367 w 51323"/>
                <a:gd name="connsiteY1447" fmla="*/ 8039 h 51323"/>
                <a:gd name="connsiteX1448" fmla="*/ 36363 w 51323"/>
                <a:gd name="connsiteY1448" fmla="*/ 8331 h 51323"/>
                <a:gd name="connsiteX1449" fmla="*/ 37256 w 51323"/>
                <a:gd name="connsiteY1449" fmla="*/ 8812 h 51323"/>
                <a:gd name="connsiteX1450" fmla="*/ 37428 w 51323"/>
                <a:gd name="connsiteY1450" fmla="*/ 8812 h 51323"/>
                <a:gd name="connsiteX1451" fmla="*/ 37101 w 51323"/>
                <a:gd name="connsiteY1451" fmla="*/ 8709 h 51323"/>
                <a:gd name="connsiteX1452" fmla="*/ 35384 w 51323"/>
                <a:gd name="connsiteY1452" fmla="*/ 7798 h 51323"/>
                <a:gd name="connsiteX1453" fmla="*/ 34525 w 51323"/>
                <a:gd name="connsiteY1453" fmla="*/ 7231 h 51323"/>
                <a:gd name="connsiteX1454" fmla="*/ 34851 w 51323"/>
                <a:gd name="connsiteY1454" fmla="*/ 7317 h 51323"/>
                <a:gd name="connsiteX1455" fmla="*/ 34267 w 51323"/>
                <a:gd name="connsiteY1455" fmla="*/ 7008 h 51323"/>
                <a:gd name="connsiteX1456" fmla="*/ 34027 w 51323"/>
                <a:gd name="connsiteY1456" fmla="*/ 6922 h 51323"/>
                <a:gd name="connsiteX1457" fmla="*/ 34027 w 51323"/>
                <a:gd name="connsiteY1457" fmla="*/ 6922 h 51323"/>
                <a:gd name="connsiteX1458" fmla="*/ 33872 w 51323"/>
                <a:gd name="connsiteY1458" fmla="*/ 6922 h 51323"/>
                <a:gd name="connsiteX1459" fmla="*/ 33872 w 51323"/>
                <a:gd name="connsiteY1459" fmla="*/ 6922 h 51323"/>
                <a:gd name="connsiteX1460" fmla="*/ 33615 w 51323"/>
                <a:gd name="connsiteY1460" fmla="*/ 6768 h 51323"/>
                <a:gd name="connsiteX1461" fmla="*/ 33615 w 51323"/>
                <a:gd name="connsiteY1461" fmla="*/ 6768 h 51323"/>
                <a:gd name="connsiteX1462" fmla="*/ 33168 w 51323"/>
                <a:gd name="connsiteY1462" fmla="*/ 6458 h 51323"/>
                <a:gd name="connsiteX1463" fmla="*/ 33168 w 51323"/>
                <a:gd name="connsiteY1463" fmla="*/ 6458 h 51323"/>
                <a:gd name="connsiteX1464" fmla="*/ 32910 w 51323"/>
                <a:gd name="connsiteY1464" fmla="*/ 6287 h 51323"/>
                <a:gd name="connsiteX1465" fmla="*/ 32910 w 51323"/>
                <a:gd name="connsiteY1465" fmla="*/ 6287 h 51323"/>
                <a:gd name="connsiteX1466" fmla="*/ 32910 w 51323"/>
                <a:gd name="connsiteY1466" fmla="*/ 6287 h 51323"/>
                <a:gd name="connsiteX1467" fmla="*/ 32910 w 51323"/>
                <a:gd name="connsiteY1467" fmla="*/ 6287 h 51323"/>
                <a:gd name="connsiteX1468" fmla="*/ 32687 w 51323"/>
                <a:gd name="connsiteY1468" fmla="*/ 6184 h 51323"/>
                <a:gd name="connsiteX1469" fmla="*/ 32687 w 51323"/>
                <a:gd name="connsiteY1469" fmla="*/ 6184 h 51323"/>
                <a:gd name="connsiteX1470" fmla="*/ 32687 w 51323"/>
                <a:gd name="connsiteY1470" fmla="*/ 6184 h 51323"/>
                <a:gd name="connsiteX1471" fmla="*/ 32687 w 51323"/>
                <a:gd name="connsiteY1471" fmla="*/ 6184 h 51323"/>
                <a:gd name="connsiteX1472" fmla="*/ 32687 w 51323"/>
                <a:gd name="connsiteY1472" fmla="*/ 6184 h 51323"/>
                <a:gd name="connsiteX1473" fmla="*/ 32962 w 51323"/>
                <a:gd name="connsiteY1473" fmla="*/ 6287 h 51323"/>
                <a:gd name="connsiteX1474" fmla="*/ 32739 w 51323"/>
                <a:gd name="connsiteY1474" fmla="*/ 6184 h 51323"/>
                <a:gd name="connsiteX1475" fmla="*/ 32893 w 51323"/>
                <a:gd name="connsiteY1475" fmla="*/ 6184 h 51323"/>
                <a:gd name="connsiteX1476" fmla="*/ 32807 w 51323"/>
                <a:gd name="connsiteY1476" fmla="*/ 6184 h 51323"/>
                <a:gd name="connsiteX1477" fmla="*/ 32670 w 51323"/>
                <a:gd name="connsiteY1477" fmla="*/ 6184 h 51323"/>
                <a:gd name="connsiteX1478" fmla="*/ 32670 w 51323"/>
                <a:gd name="connsiteY1478" fmla="*/ 6184 h 51323"/>
                <a:gd name="connsiteX1479" fmla="*/ 32532 w 51323"/>
                <a:gd name="connsiteY1479" fmla="*/ 6184 h 51323"/>
                <a:gd name="connsiteX1480" fmla="*/ 32876 w 51323"/>
                <a:gd name="connsiteY1480" fmla="*/ 6304 h 51323"/>
                <a:gd name="connsiteX1481" fmla="*/ 32481 w 51323"/>
                <a:gd name="connsiteY1481" fmla="*/ 6166 h 51323"/>
                <a:gd name="connsiteX1482" fmla="*/ 32481 w 51323"/>
                <a:gd name="connsiteY1482" fmla="*/ 6166 h 51323"/>
                <a:gd name="connsiteX1483" fmla="*/ 32343 w 51323"/>
                <a:gd name="connsiteY1483" fmla="*/ 6166 h 51323"/>
                <a:gd name="connsiteX1484" fmla="*/ 32343 w 51323"/>
                <a:gd name="connsiteY1484" fmla="*/ 6166 h 51323"/>
                <a:gd name="connsiteX1485" fmla="*/ 32343 w 51323"/>
                <a:gd name="connsiteY1485" fmla="*/ 6166 h 51323"/>
                <a:gd name="connsiteX1486" fmla="*/ 32206 w 51323"/>
                <a:gd name="connsiteY1486" fmla="*/ 6166 h 51323"/>
                <a:gd name="connsiteX1487" fmla="*/ 32206 w 51323"/>
                <a:gd name="connsiteY1487" fmla="*/ 6166 h 51323"/>
                <a:gd name="connsiteX1488" fmla="*/ 31742 w 51323"/>
                <a:gd name="connsiteY1488" fmla="*/ 6029 h 51323"/>
                <a:gd name="connsiteX1489" fmla="*/ 31742 w 51323"/>
                <a:gd name="connsiteY1489" fmla="*/ 6029 h 51323"/>
                <a:gd name="connsiteX1490" fmla="*/ 30952 w 51323"/>
                <a:gd name="connsiteY1490" fmla="*/ 5754 h 51323"/>
                <a:gd name="connsiteX1491" fmla="*/ 30952 w 51323"/>
                <a:gd name="connsiteY1491" fmla="*/ 5754 h 51323"/>
                <a:gd name="connsiteX1492" fmla="*/ 31055 w 51323"/>
                <a:gd name="connsiteY1492" fmla="*/ 5754 h 51323"/>
                <a:gd name="connsiteX1493" fmla="*/ 31055 w 51323"/>
                <a:gd name="connsiteY1493" fmla="*/ 5754 h 51323"/>
                <a:gd name="connsiteX1494" fmla="*/ 31605 w 51323"/>
                <a:gd name="connsiteY1494" fmla="*/ 5909 h 51323"/>
                <a:gd name="connsiteX1495" fmla="*/ 31416 w 51323"/>
                <a:gd name="connsiteY1495" fmla="*/ 5909 h 51323"/>
                <a:gd name="connsiteX1496" fmla="*/ 31588 w 51323"/>
                <a:gd name="connsiteY1496" fmla="*/ 5909 h 51323"/>
                <a:gd name="connsiteX1497" fmla="*/ 31485 w 51323"/>
                <a:gd name="connsiteY1497" fmla="*/ 5909 h 51323"/>
                <a:gd name="connsiteX1498" fmla="*/ 31485 w 51323"/>
                <a:gd name="connsiteY1498" fmla="*/ 5909 h 51323"/>
                <a:gd name="connsiteX1499" fmla="*/ 31485 w 51323"/>
                <a:gd name="connsiteY1499" fmla="*/ 5909 h 51323"/>
                <a:gd name="connsiteX1500" fmla="*/ 31811 w 51323"/>
                <a:gd name="connsiteY1500" fmla="*/ 5909 h 51323"/>
                <a:gd name="connsiteX1501" fmla="*/ 31811 w 51323"/>
                <a:gd name="connsiteY1501" fmla="*/ 5909 h 51323"/>
                <a:gd name="connsiteX1502" fmla="*/ 31708 w 51323"/>
                <a:gd name="connsiteY1502" fmla="*/ 5909 h 51323"/>
                <a:gd name="connsiteX1503" fmla="*/ 31708 w 51323"/>
                <a:gd name="connsiteY1503" fmla="*/ 5909 h 51323"/>
                <a:gd name="connsiteX1504" fmla="*/ 31708 w 51323"/>
                <a:gd name="connsiteY1504" fmla="*/ 5909 h 51323"/>
                <a:gd name="connsiteX1505" fmla="*/ 31708 w 51323"/>
                <a:gd name="connsiteY1505" fmla="*/ 5909 h 51323"/>
                <a:gd name="connsiteX1506" fmla="*/ 31708 w 51323"/>
                <a:gd name="connsiteY1506" fmla="*/ 5909 h 51323"/>
                <a:gd name="connsiteX1507" fmla="*/ 32292 w 51323"/>
                <a:gd name="connsiteY1507" fmla="*/ 6046 h 51323"/>
                <a:gd name="connsiteX1508" fmla="*/ 32051 w 51323"/>
                <a:gd name="connsiteY1508" fmla="*/ 6046 h 51323"/>
                <a:gd name="connsiteX1509" fmla="*/ 32378 w 51323"/>
                <a:gd name="connsiteY1509" fmla="*/ 6046 h 51323"/>
                <a:gd name="connsiteX1510" fmla="*/ 32635 w 51323"/>
                <a:gd name="connsiteY1510" fmla="*/ 6046 h 51323"/>
                <a:gd name="connsiteX1511" fmla="*/ 32635 w 51323"/>
                <a:gd name="connsiteY1511" fmla="*/ 6046 h 51323"/>
                <a:gd name="connsiteX1512" fmla="*/ 32773 w 51323"/>
                <a:gd name="connsiteY1512" fmla="*/ 6046 h 51323"/>
                <a:gd name="connsiteX1513" fmla="*/ 32773 w 51323"/>
                <a:gd name="connsiteY1513" fmla="*/ 6046 h 51323"/>
                <a:gd name="connsiteX1514" fmla="*/ 32773 w 51323"/>
                <a:gd name="connsiteY1514" fmla="*/ 6046 h 51323"/>
                <a:gd name="connsiteX1515" fmla="*/ 34010 w 51323"/>
                <a:gd name="connsiteY1515" fmla="*/ 6493 h 51323"/>
                <a:gd name="connsiteX1516" fmla="*/ 34010 w 51323"/>
                <a:gd name="connsiteY1516" fmla="*/ 6493 h 51323"/>
                <a:gd name="connsiteX1517" fmla="*/ 34645 w 51323"/>
                <a:gd name="connsiteY1517" fmla="*/ 6768 h 51323"/>
                <a:gd name="connsiteX1518" fmla="*/ 34645 w 51323"/>
                <a:gd name="connsiteY1518" fmla="*/ 6768 h 51323"/>
                <a:gd name="connsiteX1519" fmla="*/ 35470 w 51323"/>
                <a:gd name="connsiteY1519" fmla="*/ 7163 h 51323"/>
                <a:gd name="connsiteX1520" fmla="*/ 34662 w 51323"/>
                <a:gd name="connsiteY1520" fmla="*/ 6733 h 51323"/>
                <a:gd name="connsiteX1521" fmla="*/ 34662 w 51323"/>
                <a:gd name="connsiteY1521" fmla="*/ 6733 h 51323"/>
                <a:gd name="connsiteX1522" fmla="*/ 34353 w 51323"/>
                <a:gd name="connsiteY1522" fmla="*/ 6596 h 51323"/>
                <a:gd name="connsiteX1523" fmla="*/ 34491 w 51323"/>
                <a:gd name="connsiteY1523" fmla="*/ 6596 h 51323"/>
                <a:gd name="connsiteX1524" fmla="*/ 34250 w 51323"/>
                <a:gd name="connsiteY1524" fmla="*/ 6493 h 51323"/>
                <a:gd name="connsiteX1525" fmla="*/ 34113 w 51323"/>
                <a:gd name="connsiteY1525" fmla="*/ 6493 h 51323"/>
                <a:gd name="connsiteX1526" fmla="*/ 34422 w 51323"/>
                <a:gd name="connsiteY1526" fmla="*/ 6596 h 51323"/>
                <a:gd name="connsiteX1527" fmla="*/ 34113 w 51323"/>
                <a:gd name="connsiteY1527" fmla="*/ 6476 h 51323"/>
                <a:gd name="connsiteX1528" fmla="*/ 34628 w 51323"/>
                <a:gd name="connsiteY1528" fmla="*/ 6630 h 51323"/>
                <a:gd name="connsiteX1529" fmla="*/ 34473 w 51323"/>
                <a:gd name="connsiteY1529" fmla="*/ 6630 h 51323"/>
                <a:gd name="connsiteX1530" fmla="*/ 34473 w 51323"/>
                <a:gd name="connsiteY1530" fmla="*/ 6630 h 51323"/>
                <a:gd name="connsiteX1531" fmla="*/ 33700 w 51323"/>
                <a:gd name="connsiteY1531" fmla="*/ 4827 h 51323"/>
                <a:gd name="connsiteX1532" fmla="*/ 49314 w 51323"/>
                <a:gd name="connsiteY1532" fmla="*/ 25438 h 51323"/>
                <a:gd name="connsiteX1533" fmla="*/ 49177 w 51323"/>
                <a:gd name="connsiteY1533" fmla="*/ 26452 h 51323"/>
                <a:gd name="connsiteX1534" fmla="*/ 49159 w 51323"/>
                <a:gd name="connsiteY1534" fmla="*/ 26589 h 5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</a:cxnLst>
              <a:rect l="l" t="t" r="r" b="b"/>
              <a:pathLst>
                <a:path w="51323" h="51323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009E87D-15F6-461B-8613-4D45DEC91DF8}"/>
                </a:ext>
              </a:extLst>
            </p:cNvPr>
            <p:cNvSpPr/>
            <p:nvPr/>
          </p:nvSpPr>
          <p:spPr>
            <a:xfrm rot="16200000">
              <a:off x="12026199" y="6563439"/>
              <a:ext cx="13277" cy="68070"/>
            </a:xfrm>
            <a:custGeom>
              <a:avLst/>
              <a:gdLst>
                <a:gd name="connsiteX0" fmla="*/ 13277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7 w 13277"/>
                <a:gd name="connsiteY3" fmla="*/ 0 h 68070"/>
                <a:gd name="connsiteX4" fmla="*/ 0 w 13277"/>
                <a:gd name="connsiteY4" fmla="*/ 17984 h 68070"/>
                <a:gd name="connsiteX5" fmla="*/ 13277 w 13277"/>
                <a:gd name="connsiteY5" fmla="*/ 17984 h 68070"/>
                <a:gd name="connsiteX6" fmla="*/ 13277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F1E131A-2CBD-498E-BF77-35CB73179FB4}"/>
                </a:ext>
              </a:extLst>
            </p:cNvPr>
            <p:cNvSpPr/>
            <p:nvPr/>
          </p:nvSpPr>
          <p:spPr>
            <a:xfrm rot="16200000">
              <a:off x="12018640" y="6529825"/>
              <a:ext cx="45208" cy="51256"/>
            </a:xfrm>
            <a:custGeom>
              <a:avLst/>
              <a:gdLst>
                <a:gd name="connsiteX0" fmla="*/ 40279 w 45208"/>
                <a:gd name="connsiteY0" fmla="*/ 4038 h 51256"/>
                <a:gd name="connsiteX1" fmla="*/ 45209 w 45208"/>
                <a:gd name="connsiteY1" fmla="*/ 17521 h 51256"/>
                <a:gd name="connsiteX2" fmla="*/ 45209 w 45208"/>
                <a:gd name="connsiteY2" fmla="*/ 51256 h 51256"/>
                <a:gd name="connsiteX3" fmla="*/ 31794 w 45208"/>
                <a:gd name="connsiteY3" fmla="*/ 51256 h 51256"/>
                <a:gd name="connsiteX4" fmla="*/ 31794 w 45208"/>
                <a:gd name="connsiteY4" fmla="*/ 20785 h 51256"/>
                <a:gd name="connsiteX5" fmla="*/ 30746 w 45208"/>
                <a:gd name="connsiteY5" fmla="*/ 14722 h 51256"/>
                <a:gd name="connsiteX6" fmla="*/ 23446 w 45208"/>
                <a:gd name="connsiteY6" fmla="*/ 10874 h 51256"/>
                <a:gd name="connsiteX7" fmla="*/ 14360 w 45208"/>
                <a:gd name="connsiteY7" fmla="*/ 16525 h 51256"/>
                <a:gd name="connsiteX8" fmla="*/ 13089 w 45208"/>
                <a:gd name="connsiteY8" fmla="*/ 24152 h 51256"/>
                <a:gd name="connsiteX9" fmla="*/ 13089 w 45208"/>
                <a:gd name="connsiteY9" fmla="*/ 51256 h 51256"/>
                <a:gd name="connsiteX10" fmla="*/ 0 w 45208"/>
                <a:gd name="connsiteY10" fmla="*/ 51256 h 51256"/>
                <a:gd name="connsiteX11" fmla="*/ 0 w 45208"/>
                <a:gd name="connsiteY11" fmla="*/ 1272 h 51256"/>
                <a:gd name="connsiteX12" fmla="*/ 12676 w 45208"/>
                <a:gd name="connsiteY12" fmla="*/ 1272 h 51256"/>
                <a:gd name="connsiteX13" fmla="*/ 12676 w 45208"/>
                <a:gd name="connsiteY13" fmla="*/ 8607 h 51256"/>
                <a:gd name="connsiteX14" fmla="*/ 17434 w 45208"/>
                <a:gd name="connsiteY14" fmla="*/ 3042 h 51256"/>
                <a:gd name="connsiteX15" fmla="*/ 27637 w 45208"/>
                <a:gd name="connsiteY15" fmla="*/ 19 h 51256"/>
                <a:gd name="connsiteX16" fmla="*/ 40279 w 45208"/>
                <a:gd name="connsiteY16" fmla="*/ 4038 h 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6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0206C6A-0755-4A5A-A68A-80DA88954D0D}"/>
                </a:ext>
              </a:extLst>
            </p:cNvPr>
            <p:cNvSpPr/>
            <p:nvPr/>
          </p:nvSpPr>
          <p:spPr>
            <a:xfrm rot="16200000">
              <a:off x="12018195" y="6477145"/>
              <a:ext cx="28942" cy="68414"/>
            </a:xfrm>
            <a:custGeom>
              <a:avLst/>
              <a:gdLst>
                <a:gd name="connsiteX0" fmla="*/ 25868 w 28942"/>
                <a:gd name="connsiteY0" fmla="*/ 0 h 68414"/>
                <a:gd name="connsiteX1" fmla="*/ 28616 w 28942"/>
                <a:gd name="connsiteY1" fmla="*/ 206 h 68414"/>
                <a:gd name="connsiteX2" fmla="*/ 28616 w 28942"/>
                <a:gd name="connsiteY2" fmla="*/ 10941 h 68414"/>
                <a:gd name="connsiteX3" fmla="*/ 24923 w 28942"/>
                <a:gd name="connsiteY3" fmla="*/ 10735 h 68414"/>
                <a:gd name="connsiteX4" fmla="*/ 21333 w 28942"/>
                <a:gd name="connsiteY4" fmla="*/ 11869 h 68414"/>
                <a:gd name="connsiteX5" fmla="*/ 20354 w 28942"/>
                <a:gd name="connsiteY5" fmla="*/ 14566 h 68414"/>
                <a:gd name="connsiteX6" fmla="*/ 20354 w 28942"/>
                <a:gd name="connsiteY6" fmla="*/ 18791 h 68414"/>
                <a:gd name="connsiteX7" fmla="*/ 28943 w 28942"/>
                <a:gd name="connsiteY7" fmla="*/ 18791 h 68414"/>
                <a:gd name="connsiteX8" fmla="*/ 28943 w 28942"/>
                <a:gd name="connsiteY8" fmla="*/ 28032 h 68414"/>
                <a:gd name="connsiteX9" fmla="*/ 20354 w 28942"/>
                <a:gd name="connsiteY9" fmla="*/ 28032 h 68414"/>
                <a:gd name="connsiteX10" fmla="*/ 20354 w 28942"/>
                <a:gd name="connsiteY10" fmla="*/ 68414 h 68414"/>
                <a:gd name="connsiteX11" fmla="*/ 7352 w 28942"/>
                <a:gd name="connsiteY11" fmla="*/ 68414 h 68414"/>
                <a:gd name="connsiteX12" fmla="*/ 7352 w 28942"/>
                <a:gd name="connsiteY12" fmla="*/ 28032 h 68414"/>
                <a:gd name="connsiteX13" fmla="*/ 0 w 28942"/>
                <a:gd name="connsiteY13" fmla="*/ 28032 h 68414"/>
                <a:gd name="connsiteX14" fmla="*/ 0 w 28942"/>
                <a:gd name="connsiteY14" fmla="*/ 18791 h 68414"/>
                <a:gd name="connsiteX15" fmla="*/ 7163 w 28942"/>
                <a:gd name="connsiteY15" fmla="*/ 18791 h 68414"/>
                <a:gd name="connsiteX16" fmla="*/ 7163 w 28942"/>
                <a:gd name="connsiteY16" fmla="*/ 15579 h 68414"/>
                <a:gd name="connsiteX17" fmla="*/ 9877 w 28942"/>
                <a:gd name="connsiteY17" fmla="*/ 4500 h 68414"/>
                <a:gd name="connsiteX18" fmla="*/ 23618 w 28942"/>
                <a:gd name="connsiteY18" fmla="*/ 0 h 68414"/>
                <a:gd name="connsiteX19" fmla="*/ 25868 w 28942"/>
                <a:gd name="connsiteY19" fmla="*/ 0 h 6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42" h="68414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77717B5-6538-40B8-80D9-DF6AF219884E}"/>
                </a:ext>
              </a:extLst>
            </p:cNvPr>
            <p:cNvSpPr/>
            <p:nvPr/>
          </p:nvSpPr>
          <p:spPr>
            <a:xfrm rot="16200000">
              <a:off x="12016830" y="6161182"/>
              <a:ext cx="49036" cy="51048"/>
            </a:xfrm>
            <a:custGeom>
              <a:avLst/>
              <a:gdLst>
                <a:gd name="connsiteX0" fmla="*/ 42949 w 49036"/>
                <a:gd name="connsiteY0" fmla="*/ 43542 h 51048"/>
                <a:gd name="connsiteX1" fmla="*/ 24519 w 49036"/>
                <a:gd name="connsiteY1" fmla="*/ 51049 h 51048"/>
                <a:gd name="connsiteX2" fmla="*/ 6071 w 49036"/>
                <a:gd name="connsiteY2" fmla="*/ 43542 h 51048"/>
                <a:gd name="connsiteX3" fmla="*/ 8 w 49036"/>
                <a:gd name="connsiteY3" fmla="*/ 25576 h 51048"/>
                <a:gd name="connsiteX4" fmla="*/ 6071 w 49036"/>
                <a:gd name="connsiteY4" fmla="*/ 7592 h 51048"/>
                <a:gd name="connsiteX5" fmla="*/ 24519 w 49036"/>
                <a:gd name="connsiteY5" fmla="*/ 0 h 51048"/>
                <a:gd name="connsiteX6" fmla="*/ 42949 w 49036"/>
                <a:gd name="connsiteY6" fmla="*/ 7592 h 51048"/>
                <a:gd name="connsiteX7" fmla="*/ 49030 w 49036"/>
                <a:gd name="connsiteY7" fmla="*/ 25576 h 51048"/>
                <a:gd name="connsiteX8" fmla="*/ 42949 w 49036"/>
                <a:gd name="connsiteY8" fmla="*/ 43542 h 51048"/>
                <a:gd name="connsiteX9" fmla="*/ 32918 w 49036"/>
                <a:gd name="connsiteY9" fmla="*/ 36672 h 51048"/>
                <a:gd name="connsiteX10" fmla="*/ 35872 w 49036"/>
                <a:gd name="connsiteY10" fmla="*/ 25576 h 51048"/>
                <a:gd name="connsiteX11" fmla="*/ 32918 w 49036"/>
                <a:gd name="connsiteY11" fmla="*/ 14480 h 51048"/>
                <a:gd name="connsiteX12" fmla="*/ 17172 w 49036"/>
                <a:gd name="connsiteY12" fmla="*/ 13307 h 51048"/>
                <a:gd name="connsiteX13" fmla="*/ 15999 w 49036"/>
                <a:gd name="connsiteY13" fmla="*/ 14480 h 51048"/>
                <a:gd name="connsiteX14" fmla="*/ 13027 w 49036"/>
                <a:gd name="connsiteY14" fmla="*/ 25576 h 51048"/>
                <a:gd name="connsiteX15" fmla="*/ 15999 w 49036"/>
                <a:gd name="connsiteY15" fmla="*/ 36706 h 51048"/>
                <a:gd name="connsiteX16" fmla="*/ 31692 w 49036"/>
                <a:gd name="connsiteY16" fmla="*/ 37932 h 51048"/>
                <a:gd name="connsiteX17" fmla="*/ 32918 w 49036"/>
                <a:gd name="connsiteY17" fmla="*/ 36706 h 51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036" h="51048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6F4C72B-A338-43A5-B504-D7C59DF51F82}"/>
                </a:ext>
              </a:extLst>
            </p:cNvPr>
            <p:cNvSpPr/>
            <p:nvPr/>
          </p:nvSpPr>
          <p:spPr>
            <a:xfrm rot="16200000">
              <a:off x="12005374" y="6370523"/>
              <a:ext cx="71791" cy="51205"/>
            </a:xfrm>
            <a:custGeom>
              <a:avLst/>
              <a:gdLst>
                <a:gd name="connsiteX0" fmla="*/ 62643 w 71791"/>
                <a:gd name="connsiteY0" fmla="*/ 1307 h 51205"/>
                <a:gd name="connsiteX1" fmla="*/ 68466 w 71791"/>
                <a:gd name="connsiteY1" fmla="*/ 5808 h 51205"/>
                <a:gd name="connsiteX2" fmla="*/ 71317 w 71791"/>
                <a:gd name="connsiteY2" fmla="*/ 12249 h 51205"/>
                <a:gd name="connsiteX3" fmla="*/ 71781 w 71791"/>
                <a:gd name="connsiteY3" fmla="*/ 19635 h 51205"/>
                <a:gd name="connsiteX4" fmla="*/ 71781 w 71791"/>
                <a:gd name="connsiteY4" fmla="*/ 51205 h 51205"/>
                <a:gd name="connsiteX5" fmla="*/ 58349 w 71791"/>
                <a:gd name="connsiteY5" fmla="*/ 51205 h 51205"/>
                <a:gd name="connsiteX6" fmla="*/ 58349 w 71791"/>
                <a:gd name="connsiteY6" fmla="*/ 19308 h 51205"/>
                <a:gd name="connsiteX7" fmla="*/ 57438 w 71791"/>
                <a:gd name="connsiteY7" fmla="*/ 14636 h 51205"/>
                <a:gd name="connsiteX8" fmla="*/ 50997 w 71791"/>
                <a:gd name="connsiteY8" fmla="*/ 11201 h 51205"/>
                <a:gd name="connsiteX9" fmla="*/ 43525 w 71791"/>
                <a:gd name="connsiteY9" fmla="*/ 15701 h 51205"/>
                <a:gd name="connsiteX10" fmla="*/ 42460 w 71791"/>
                <a:gd name="connsiteY10" fmla="*/ 21455 h 51205"/>
                <a:gd name="connsiteX11" fmla="*/ 42460 w 71791"/>
                <a:gd name="connsiteY11" fmla="*/ 51205 h 51205"/>
                <a:gd name="connsiteX12" fmla="*/ 29269 w 71791"/>
                <a:gd name="connsiteY12" fmla="*/ 51205 h 51205"/>
                <a:gd name="connsiteX13" fmla="*/ 29269 w 71791"/>
                <a:gd name="connsiteY13" fmla="*/ 21387 h 51205"/>
                <a:gd name="connsiteX14" fmla="*/ 28359 w 71791"/>
                <a:gd name="connsiteY14" fmla="*/ 14911 h 51205"/>
                <a:gd name="connsiteX15" fmla="*/ 21883 w 71791"/>
                <a:gd name="connsiteY15" fmla="*/ 11270 h 51205"/>
                <a:gd name="connsiteX16" fmla="*/ 14342 w 71791"/>
                <a:gd name="connsiteY16" fmla="*/ 14911 h 51205"/>
                <a:gd name="connsiteX17" fmla="*/ 13277 w 71791"/>
                <a:gd name="connsiteY17" fmla="*/ 21060 h 51205"/>
                <a:gd name="connsiteX18" fmla="*/ 13277 w 71791"/>
                <a:gd name="connsiteY18" fmla="*/ 51205 h 51205"/>
                <a:gd name="connsiteX19" fmla="*/ 0 w 71791"/>
                <a:gd name="connsiteY19" fmla="*/ 51205 h 51205"/>
                <a:gd name="connsiteX20" fmla="*/ 0 w 71791"/>
                <a:gd name="connsiteY20" fmla="*/ 1221 h 51205"/>
                <a:gd name="connsiteX21" fmla="*/ 12728 w 71791"/>
                <a:gd name="connsiteY21" fmla="*/ 1221 h 51205"/>
                <a:gd name="connsiteX22" fmla="*/ 12728 w 71791"/>
                <a:gd name="connsiteY22" fmla="*/ 8556 h 51205"/>
                <a:gd name="connsiteX23" fmla="*/ 17331 w 71791"/>
                <a:gd name="connsiteY23" fmla="*/ 2991 h 51205"/>
                <a:gd name="connsiteX24" fmla="*/ 36483 w 71791"/>
                <a:gd name="connsiteY24" fmla="*/ 2578 h 51205"/>
                <a:gd name="connsiteX25" fmla="*/ 40726 w 71791"/>
                <a:gd name="connsiteY25" fmla="*/ 8556 h 51205"/>
                <a:gd name="connsiteX26" fmla="*/ 47098 w 71791"/>
                <a:gd name="connsiteY26" fmla="*/ 2063 h 51205"/>
                <a:gd name="connsiteX27" fmla="*/ 56116 w 71791"/>
                <a:gd name="connsiteY27" fmla="*/ 2 h 51205"/>
                <a:gd name="connsiteX28" fmla="*/ 62643 w 71791"/>
                <a:gd name="connsiteY28" fmla="*/ 1307 h 5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1791" h="51205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2BF5563-93F1-481A-91B4-C075059E368E}"/>
                </a:ext>
              </a:extLst>
            </p:cNvPr>
            <p:cNvSpPr/>
            <p:nvPr/>
          </p:nvSpPr>
          <p:spPr>
            <a:xfrm rot="16200000">
              <a:off x="12026199" y="6307354"/>
              <a:ext cx="13277" cy="68070"/>
            </a:xfrm>
            <a:custGeom>
              <a:avLst/>
              <a:gdLst>
                <a:gd name="connsiteX0" fmla="*/ 13278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8 w 13277"/>
                <a:gd name="connsiteY3" fmla="*/ 0 h 68070"/>
                <a:gd name="connsiteX4" fmla="*/ 0 w 13277"/>
                <a:gd name="connsiteY4" fmla="*/ 17984 h 68070"/>
                <a:gd name="connsiteX5" fmla="*/ 13278 w 13277"/>
                <a:gd name="connsiteY5" fmla="*/ 17984 h 68070"/>
                <a:gd name="connsiteX6" fmla="*/ 13278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FC16EFC-46A9-416F-86D6-804893E20E51}"/>
                </a:ext>
              </a:extLst>
            </p:cNvPr>
            <p:cNvSpPr/>
            <p:nvPr/>
          </p:nvSpPr>
          <p:spPr>
            <a:xfrm rot="16200000">
              <a:off x="12018641" y="6273739"/>
              <a:ext cx="45208" cy="51255"/>
            </a:xfrm>
            <a:custGeom>
              <a:avLst/>
              <a:gdLst>
                <a:gd name="connsiteX0" fmla="*/ 40296 w 45208"/>
                <a:gd name="connsiteY0" fmla="*/ 4038 h 51255"/>
                <a:gd name="connsiteX1" fmla="*/ 45209 w 45208"/>
                <a:gd name="connsiteY1" fmla="*/ 17521 h 51255"/>
                <a:gd name="connsiteX2" fmla="*/ 45209 w 45208"/>
                <a:gd name="connsiteY2" fmla="*/ 51256 h 51255"/>
                <a:gd name="connsiteX3" fmla="*/ 31794 w 45208"/>
                <a:gd name="connsiteY3" fmla="*/ 51256 h 51255"/>
                <a:gd name="connsiteX4" fmla="*/ 31794 w 45208"/>
                <a:gd name="connsiteY4" fmla="*/ 20785 h 51255"/>
                <a:gd name="connsiteX5" fmla="*/ 30746 w 45208"/>
                <a:gd name="connsiteY5" fmla="*/ 14722 h 51255"/>
                <a:gd name="connsiteX6" fmla="*/ 23446 w 45208"/>
                <a:gd name="connsiteY6" fmla="*/ 10874 h 51255"/>
                <a:gd name="connsiteX7" fmla="*/ 14377 w 45208"/>
                <a:gd name="connsiteY7" fmla="*/ 16525 h 51255"/>
                <a:gd name="connsiteX8" fmla="*/ 13089 w 45208"/>
                <a:gd name="connsiteY8" fmla="*/ 24151 h 51255"/>
                <a:gd name="connsiteX9" fmla="*/ 13089 w 45208"/>
                <a:gd name="connsiteY9" fmla="*/ 51256 h 51255"/>
                <a:gd name="connsiteX10" fmla="*/ 0 w 45208"/>
                <a:gd name="connsiteY10" fmla="*/ 51256 h 51255"/>
                <a:gd name="connsiteX11" fmla="*/ 0 w 45208"/>
                <a:gd name="connsiteY11" fmla="*/ 1272 h 51255"/>
                <a:gd name="connsiteX12" fmla="*/ 12676 w 45208"/>
                <a:gd name="connsiteY12" fmla="*/ 1272 h 51255"/>
                <a:gd name="connsiteX13" fmla="*/ 12676 w 45208"/>
                <a:gd name="connsiteY13" fmla="*/ 8607 h 51255"/>
                <a:gd name="connsiteX14" fmla="*/ 17434 w 45208"/>
                <a:gd name="connsiteY14" fmla="*/ 3042 h 51255"/>
                <a:gd name="connsiteX15" fmla="*/ 27637 w 45208"/>
                <a:gd name="connsiteY15" fmla="*/ 18 h 51255"/>
                <a:gd name="connsiteX16" fmla="*/ 40296 w 45208"/>
                <a:gd name="connsiteY16" fmla="*/ 4038 h 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5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B960D13-8779-48EB-ACDD-6F71D394676F}"/>
                </a:ext>
              </a:extLst>
            </p:cNvPr>
            <p:cNvSpPr/>
            <p:nvPr/>
          </p:nvSpPr>
          <p:spPr>
            <a:xfrm rot="16200000">
              <a:off x="12017163" y="6218687"/>
              <a:ext cx="48082" cy="51510"/>
            </a:xfrm>
            <a:custGeom>
              <a:avLst/>
              <a:gdLst>
                <a:gd name="connsiteX0" fmla="*/ 35384 w 48082"/>
                <a:gd name="connsiteY0" fmla="*/ 2281 h 51510"/>
                <a:gd name="connsiteX1" fmla="*/ 43766 w 48082"/>
                <a:gd name="connsiteY1" fmla="*/ 9444 h 51510"/>
                <a:gd name="connsiteX2" fmla="*/ 47631 w 48082"/>
                <a:gd name="connsiteY2" fmla="*/ 19475 h 51510"/>
                <a:gd name="connsiteX3" fmla="*/ 48043 w 48082"/>
                <a:gd name="connsiteY3" fmla="*/ 29094 h 51510"/>
                <a:gd name="connsiteX4" fmla="*/ 12711 w 48082"/>
                <a:gd name="connsiteY4" fmla="*/ 29094 h 51510"/>
                <a:gd name="connsiteX5" fmla="*/ 17778 w 48082"/>
                <a:gd name="connsiteY5" fmla="*/ 39400 h 51510"/>
                <a:gd name="connsiteX6" fmla="*/ 24769 w 48082"/>
                <a:gd name="connsiteY6" fmla="*/ 41237 h 51510"/>
                <a:gd name="connsiteX7" fmla="*/ 31811 w 48082"/>
                <a:gd name="connsiteY7" fmla="*/ 39004 h 51510"/>
                <a:gd name="connsiteX8" fmla="*/ 34405 w 48082"/>
                <a:gd name="connsiteY8" fmla="*/ 35672 h 51510"/>
                <a:gd name="connsiteX9" fmla="*/ 47407 w 48082"/>
                <a:gd name="connsiteY9" fmla="*/ 35672 h 51510"/>
                <a:gd name="connsiteX10" fmla="*/ 42701 w 48082"/>
                <a:gd name="connsiteY10" fmla="*/ 44432 h 51510"/>
                <a:gd name="connsiteX11" fmla="*/ 24459 w 48082"/>
                <a:gd name="connsiteY11" fmla="*/ 51509 h 51510"/>
                <a:gd name="connsiteX12" fmla="*/ 7386 w 48082"/>
                <a:gd name="connsiteY12" fmla="*/ 45549 h 51510"/>
                <a:gd name="connsiteX13" fmla="*/ 0 w 48082"/>
                <a:gd name="connsiteY13" fmla="*/ 26139 h 51510"/>
                <a:gd name="connsiteX14" fmla="*/ 6682 w 48082"/>
                <a:gd name="connsiteY14" fmla="*/ 6816 h 51510"/>
                <a:gd name="connsiteX15" fmla="*/ 23961 w 48082"/>
                <a:gd name="connsiteY15" fmla="*/ 14 h 51510"/>
                <a:gd name="connsiteX16" fmla="*/ 35384 w 48082"/>
                <a:gd name="connsiteY16" fmla="*/ 2281 h 51510"/>
                <a:gd name="connsiteX17" fmla="*/ 16490 w 48082"/>
                <a:gd name="connsiteY17" fmla="*/ 13223 h 51510"/>
                <a:gd name="connsiteX18" fmla="*/ 13054 w 48082"/>
                <a:gd name="connsiteY18" fmla="*/ 20797 h 51510"/>
                <a:gd name="connsiteX19" fmla="*/ 34886 w 48082"/>
                <a:gd name="connsiteY19" fmla="*/ 20797 h 51510"/>
                <a:gd name="connsiteX20" fmla="*/ 31450 w 48082"/>
                <a:gd name="connsiteY20" fmla="*/ 13137 h 51510"/>
                <a:gd name="connsiteX21" fmla="*/ 23961 w 48082"/>
                <a:gd name="connsiteY21" fmla="*/ 10491 h 51510"/>
                <a:gd name="connsiteX22" fmla="*/ 16490 w 48082"/>
                <a:gd name="connsiteY22" fmla="*/ 13223 h 5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8082" h="5151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4" name="Copyright">
            <a:extLst>
              <a:ext uri="{FF2B5EF4-FFF2-40B4-BE49-F238E27FC236}">
                <a16:creationId xmlns:a16="http://schemas.microsoft.com/office/drawing/2014/main" id="{91DDE10F-E464-493A-BB89-4DF8A40FD210}"/>
              </a:ext>
            </a:extLst>
          </p:cNvPr>
          <p:cNvSpPr txBox="1"/>
          <p:nvPr userDrawn="1"/>
        </p:nvSpPr>
        <p:spPr>
          <a:xfrm rot="16200000">
            <a:off x="11250971" y="5290633"/>
            <a:ext cx="1567737" cy="110800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lvl="0" algn="l" rtl="0"/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0. All rights reserved.</a:t>
            </a:r>
          </a:p>
        </p:txBody>
      </p:sp>
      <p:sp>
        <p:nvSpPr>
          <p:cNvPr id="25" name="Footer Placeholder 2">
            <a:extLst>
              <a:ext uri="{FF2B5EF4-FFF2-40B4-BE49-F238E27FC236}">
                <a16:creationId xmlns:a16="http://schemas.microsoft.com/office/drawing/2014/main" id="{8D5C90CD-E3CF-46F9-BF9E-F748CFCE162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50862" y="6465614"/>
            <a:ext cx="65" cy="138499"/>
          </a:xfrm>
        </p:spPr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2838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lain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38369F-F8B4-42F9-9E33-ED43D3902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545431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38369F-F8B4-42F9-9E33-ED43D3902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506F88BD-D39D-4B55-A16B-68F5F7E3D6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50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9A2C76-32EA-4992-A965-D9260A5D16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82E60DA-1F02-9A45-8CE9-6CC78A3380F0}"/>
              </a:ext>
            </a:extLst>
          </p:cNvPr>
          <p:cNvSpPr/>
          <p:nvPr userDrawn="1"/>
        </p:nvSpPr>
        <p:spPr>
          <a:xfrm>
            <a:off x="0" y="0"/>
            <a:ext cx="2682587" cy="6858000"/>
          </a:xfrm>
          <a:prstGeom prst="rect">
            <a:avLst/>
          </a:prstGeom>
          <a:solidFill>
            <a:schemeClr val="bg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rtl="0"/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D93BD1C-9237-8249-950A-62A7C86034D0}"/>
              </a:ext>
            </a:extLst>
          </p:cNvPr>
          <p:cNvSpPr/>
          <p:nvPr userDrawn="1"/>
        </p:nvSpPr>
        <p:spPr>
          <a:xfrm>
            <a:off x="0" y="3700463"/>
            <a:ext cx="9412014" cy="2414587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rtl="0"/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2FC8D14-70D2-7549-AB21-7BE68BD7C1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1674" y="6445294"/>
            <a:ext cx="1394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 algn="r" rtl="0">
              <a:lnSpc>
                <a:spcPct val="100000"/>
              </a:lnSpc>
              <a:defRPr kumimoji="0" lang="en-US" sz="9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fld id="{8F8D7F04-0843-CE4E-9080-A55527BC6FD9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25ED1541-2768-484A-B508-132270F4720A}"/>
              </a:ext>
            </a:extLst>
          </p:cNvPr>
          <p:cNvSpPr txBox="1"/>
          <p:nvPr userDrawn="1"/>
        </p:nvSpPr>
        <p:spPr>
          <a:xfrm rot="16200000">
            <a:off x="11165824" y="5680115"/>
            <a:ext cx="1776127" cy="96950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Infomineo Copyright © 2020. All rights reserved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320E1C7-337A-BF4B-A826-DFB0B274D592}"/>
              </a:ext>
            </a:extLst>
          </p:cNvPr>
          <p:cNvSpPr txBox="1">
            <a:spLocks/>
          </p:cNvSpPr>
          <p:nvPr userDrawn="1"/>
        </p:nvSpPr>
        <p:spPr>
          <a:xfrm>
            <a:off x="11501674" y="6445294"/>
            <a:ext cx="1394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lnSpc>
                <a:spcPct val="100000"/>
              </a:lnSpc>
              <a:defRPr kumimoji="0" lang="en-US" sz="900" b="0" i="0" u="none" strike="noStrike" kern="1200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Gill Sans Nova Light" panose="020B030202010402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8F8D7F04-0843-CE4E-9080-A55527BC6FD9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rtl="0"/>
              <a:t>‹#›</a:t>
            </a:fld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410CA7A-4558-C443-9C75-2C8E863B7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591" y="4566253"/>
            <a:ext cx="8494899" cy="654025"/>
          </a:xfrm>
        </p:spPr>
        <p:txBody>
          <a:bodyPr vert="horz" wrap="square" lIns="0" tIns="0" rIns="0" bIns="0" rtlCol="0" anchor="ctr">
            <a:spAutoFit/>
          </a:bodyPr>
          <a:lstStyle>
            <a:lvl1pPr rtl="0">
              <a:defRPr lang="en-US" sz="50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8036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3718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106A152-DC8B-0C47-8CFD-D99759D28F81}"/>
              </a:ext>
            </a:extLst>
          </p:cNvPr>
          <p:cNvSpPr txBox="1"/>
          <p:nvPr userDrawn="1"/>
        </p:nvSpPr>
        <p:spPr>
          <a:xfrm>
            <a:off x="550863" y="5965461"/>
            <a:ext cx="302890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rtl="0"/>
            <a:r>
              <a:rPr lang="en-US" sz="1200" b="1" i="0" u="sng">
                <a:solidFill>
                  <a:schemeClr val="accent3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Roboto Light" panose="02000000000000000000" pitchFamily="2" charset="0"/>
                <a:cs typeface="Calibri" panose="020F0502020204030204" pitchFamily="34" charset="0"/>
                <a:sym typeface="Calibri" panose="020F05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nfomineo.com</a:t>
            </a:r>
            <a:endParaRPr lang="en-US" sz="1200" b="1" i="0" u="sng">
              <a:solidFill>
                <a:schemeClr val="accent3">
                  <a:lumMod val="60000"/>
                  <a:lumOff val="40000"/>
                </a:schemeClr>
              </a:solidFill>
              <a:latin typeface="Calibri" panose="020F0502020204030204" pitchFamily="34" charset="0"/>
              <a:ea typeface="Roboto Light" panose="02000000000000000000" pitchFamily="2" charset="0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algn="l" rtl="0"/>
            <a:r>
              <a:rPr lang="en-US" sz="1200" b="0" i="0">
                <a:solidFill>
                  <a:schemeClr val="bg1"/>
                </a:solidFill>
                <a:latin typeface="Calibri" panose="020F0502020204030204" pitchFamily="34" charset="0"/>
                <a:ea typeface="Roboto Light" panose="02000000000000000000" pitchFamily="2" charset="0"/>
                <a:cs typeface="Calibri" panose="020F0502020204030204" pitchFamily="34" charset="0"/>
                <a:sym typeface="Calibri" panose="020F0502020204030204" pitchFamily="34" charset="0"/>
              </a:rPr>
              <a:t>Infomineo Copyright © 2020. All rights reserved.</a:t>
            </a:r>
            <a:endParaRPr lang="en-US" sz="1200" b="0" i="0" dirty="0">
              <a:solidFill>
                <a:schemeClr val="bg1"/>
              </a:solidFill>
              <a:latin typeface="Calibri" panose="020F0502020204030204" pitchFamily="34" charset="0"/>
              <a:ea typeface="Roboto Light" panose="02000000000000000000" pitchFamily="2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7CFAB11-6F0A-43F9-8297-D133DEE8097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6669" y="3006053"/>
            <a:ext cx="3678662" cy="845895"/>
          </a:xfrm>
          <a:prstGeom prst="rect">
            <a:avLst/>
          </a:prstGeom>
        </p:spPr>
      </p:pic>
      <p:pic>
        <p:nvPicPr>
          <p:cNvPr id="30" name="Picture 29">
            <a:hlinkClick r:id="rId8"/>
            <a:extLst>
              <a:ext uri="{FF2B5EF4-FFF2-40B4-BE49-F238E27FC236}">
                <a16:creationId xmlns:a16="http://schemas.microsoft.com/office/drawing/2014/main" id="{3ED467EF-C028-4376-B7C8-A8830D77CF7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1323329" y="5965461"/>
            <a:ext cx="370332" cy="370332"/>
          </a:xfrm>
          <a:prstGeom prst="rect">
            <a:avLst/>
          </a:prstGeom>
        </p:spPr>
      </p:pic>
      <p:pic>
        <p:nvPicPr>
          <p:cNvPr id="32" name="Picture 31">
            <a:hlinkClick r:id="rId10"/>
            <a:extLst>
              <a:ext uri="{FF2B5EF4-FFF2-40B4-BE49-F238E27FC236}">
                <a16:creationId xmlns:a16="http://schemas.microsoft.com/office/drawing/2014/main" id="{3BF2889F-2FC0-49EE-9DAD-8868FC3BE52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825964" y="5965461"/>
            <a:ext cx="368808" cy="370332"/>
          </a:xfrm>
          <a:prstGeom prst="rect">
            <a:avLst/>
          </a:prstGeom>
        </p:spPr>
      </p:pic>
      <p:pic>
        <p:nvPicPr>
          <p:cNvPr id="34" name="Picture 33">
            <a:hlinkClick r:id="rId12"/>
            <a:extLst>
              <a:ext uri="{FF2B5EF4-FFF2-40B4-BE49-F238E27FC236}">
                <a16:creationId xmlns:a16="http://schemas.microsoft.com/office/drawing/2014/main" id="{96507CF0-D683-43B8-9352-634205E2EC2C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328599" y="5965461"/>
            <a:ext cx="368808" cy="370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8074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ct 48" hidden="1">
            <a:extLst>
              <a:ext uri="{FF2B5EF4-FFF2-40B4-BE49-F238E27FC236}">
                <a16:creationId xmlns:a16="http://schemas.microsoft.com/office/drawing/2014/main" id="{C7E8C095-69F2-4BC8-964E-A1BFE9309E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3775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9" name="Object 48" hidden="1">
                        <a:extLst>
                          <a:ext uri="{FF2B5EF4-FFF2-40B4-BE49-F238E27FC236}">
                            <a16:creationId xmlns:a16="http://schemas.microsoft.com/office/drawing/2014/main" id="{C7E8C095-69F2-4BC8-964E-A1BFE9309E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5F11C0-1445-4182-AF87-C63E0DB6CE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7" name="Freeform: Shape 95">
            <a:extLst>
              <a:ext uri="{FF2B5EF4-FFF2-40B4-BE49-F238E27FC236}">
                <a16:creationId xmlns:a16="http://schemas.microsoft.com/office/drawing/2014/main" id="{E5A08834-247C-4C9E-93E7-8514C051C060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566584 w 12193200"/>
              <a:gd name="connsiteY0" fmla="*/ 549276 h 6858000"/>
              <a:gd name="connsiteX1" fmla="*/ 566584 w 12193200"/>
              <a:gd name="connsiteY1" fmla="*/ 6308726 h 6858000"/>
              <a:gd name="connsiteX2" fmla="*/ 11641138 w 12193200"/>
              <a:gd name="connsiteY2" fmla="*/ 6308726 h 6858000"/>
              <a:gd name="connsiteX3" fmla="*/ 11641138 w 12193200"/>
              <a:gd name="connsiteY3" fmla="*/ 549276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22800 h 6858000"/>
              <a:gd name="connsiteX7" fmla="*/ 12192000 w 12193200"/>
              <a:gd name="connsiteY7" fmla="*/ 622800 h 6858000"/>
              <a:gd name="connsiteX8" fmla="*/ 12192000 w 12193200"/>
              <a:gd name="connsiteY8" fmla="*/ 6160597 h 6858000"/>
              <a:gd name="connsiteX9" fmla="*/ 12193200 w 12193200"/>
              <a:gd name="connsiteY9" fmla="*/ 6160597 h 6858000"/>
              <a:gd name="connsiteX10" fmla="*/ 12193200 w 12193200"/>
              <a:gd name="connsiteY10" fmla="*/ 6858000 h 6858000"/>
              <a:gd name="connsiteX11" fmla="*/ 12192000 w 12193200"/>
              <a:gd name="connsiteY11" fmla="*/ 6858000 h 6858000"/>
              <a:gd name="connsiteX12" fmla="*/ 11562000 w 12193200"/>
              <a:gd name="connsiteY12" fmla="*/ 6858000 h 6858000"/>
              <a:gd name="connsiteX13" fmla="*/ 630001 w 12193200"/>
              <a:gd name="connsiteY13" fmla="*/ 6858000 h 6858000"/>
              <a:gd name="connsiteX14" fmla="*/ 1 w 12193200"/>
              <a:gd name="connsiteY14" fmla="*/ 6858000 h 6858000"/>
              <a:gd name="connsiteX15" fmla="*/ 1 w 12193200"/>
              <a:gd name="connsiteY15" fmla="*/ 6160597 h 6858000"/>
              <a:gd name="connsiteX16" fmla="*/ 1 w 12193200"/>
              <a:gd name="connsiteY16" fmla="*/ 622800 h 6858000"/>
              <a:gd name="connsiteX17" fmla="*/ 0 w 12193200"/>
              <a:gd name="connsiteY17" fmla="*/ 622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2193200" h="685800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5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rtl="0"/>
            <a:endParaRPr lang="en-US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59B0D14-7DD8-45E2-B968-99300FF0D28D}"/>
              </a:ext>
            </a:extLst>
          </p:cNvPr>
          <p:cNvGrpSpPr/>
          <p:nvPr userDrawn="1"/>
        </p:nvGrpSpPr>
        <p:grpSpPr>
          <a:xfrm>
            <a:off x="-600" y="549275"/>
            <a:ext cx="12193200" cy="5759450"/>
            <a:chOff x="-600" y="549275"/>
            <a:chExt cx="12193200" cy="5759450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EFD9771C-C32F-443B-97DA-AB808B787FCB}"/>
                </a:ext>
              </a:extLst>
            </p:cNvPr>
            <p:cNvCxnSpPr/>
            <p:nvPr/>
          </p:nvCxnSpPr>
          <p:spPr>
            <a:xfrm>
              <a:off x="-600" y="54927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ACFDCFA-8871-4375-9DD7-4FC5886280A9}"/>
                </a:ext>
              </a:extLst>
            </p:cNvPr>
            <p:cNvCxnSpPr/>
            <p:nvPr/>
          </p:nvCxnSpPr>
          <p:spPr>
            <a:xfrm>
              <a:off x="-600" y="1072861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BCC4B7F-FEF1-4EA1-831D-C9AA6F5F064E}"/>
                </a:ext>
              </a:extLst>
            </p:cNvPr>
            <p:cNvCxnSpPr/>
            <p:nvPr/>
          </p:nvCxnSpPr>
          <p:spPr>
            <a:xfrm>
              <a:off x="-600" y="1334654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81DCA16-8F73-4630-BDD0-2A70C4A58AB4}"/>
                </a:ext>
              </a:extLst>
            </p:cNvPr>
            <p:cNvCxnSpPr/>
            <p:nvPr/>
          </p:nvCxnSpPr>
          <p:spPr>
            <a:xfrm>
              <a:off x="-600" y="1596447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BC31EB1-B3A4-46CF-BFA4-063B67EE1C0D}"/>
                </a:ext>
              </a:extLst>
            </p:cNvPr>
            <p:cNvCxnSpPr/>
            <p:nvPr/>
          </p:nvCxnSpPr>
          <p:spPr>
            <a:xfrm>
              <a:off x="-600" y="1858240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93E6A85-DDE0-4463-B476-9FA784357023}"/>
                </a:ext>
              </a:extLst>
            </p:cNvPr>
            <p:cNvCxnSpPr/>
            <p:nvPr/>
          </p:nvCxnSpPr>
          <p:spPr>
            <a:xfrm>
              <a:off x="-600" y="2120033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6A4D7F3C-5BD5-4AC2-88A1-966E801F5AED}"/>
                </a:ext>
              </a:extLst>
            </p:cNvPr>
            <p:cNvCxnSpPr/>
            <p:nvPr/>
          </p:nvCxnSpPr>
          <p:spPr>
            <a:xfrm>
              <a:off x="-600" y="2381826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2775BB7-F520-4F81-AF6D-F59D1B76F55E}"/>
                </a:ext>
              </a:extLst>
            </p:cNvPr>
            <p:cNvCxnSpPr/>
            <p:nvPr/>
          </p:nvCxnSpPr>
          <p:spPr>
            <a:xfrm>
              <a:off x="-600" y="2643619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CB72474-2AC2-420E-BDB5-E5A722B50684}"/>
                </a:ext>
              </a:extLst>
            </p:cNvPr>
            <p:cNvCxnSpPr/>
            <p:nvPr/>
          </p:nvCxnSpPr>
          <p:spPr>
            <a:xfrm>
              <a:off x="-600" y="2905412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97F88338-30AC-49A0-A5C4-EC7BD34E1FA6}"/>
                </a:ext>
              </a:extLst>
            </p:cNvPr>
            <p:cNvCxnSpPr/>
            <p:nvPr/>
          </p:nvCxnSpPr>
          <p:spPr>
            <a:xfrm>
              <a:off x="-600" y="316720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A4A82DD-B8CC-462B-93E9-CBC87352521F}"/>
                </a:ext>
              </a:extLst>
            </p:cNvPr>
            <p:cNvCxnSpPr/>
            <p:nvPr/>
          </p:nvCxnSpPr>
          <p:spPr>
            <a:xfrm>
              <a:off x="-600" y="342899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0086DFAD-90A1-4761-A1F6-2CECC9F3CEB8}"/>
                </a:ext>
              </a:extLst>
            </p:cNvPr>
            <p:cNvCxnSpPr/>
            <p:nvPr/>
          </p:nvCxnSpPr>
          <p:spPr>
            <a:xfrm>
              <a:off x="-600" y="3690791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A73AC16-3E18-48F7-97ED-8B5A48560A3B}"/>
                </a:ext>
              </a:extLst>
            </p:cNvPr>
            <p:cNvCxnSpPr/>
            <p:nvPr/>
          </p:nvCxnSpPr>
          <p:spPr>
            <a:xfrm>
              <a:off x="-600" y="3952584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932B4CC9-D426-40F8-825B-C7E1196189B4}"/>
                </a:ext>
              </a:extLst>
            </p:cNvPr>
            <p:cNvCxnSpPr/>
            <p:nvPr/>
          </p:nvCxnSpPr>
          <p:spPr>
            <a:xfrm>
              <a:off x="-600" y="4214377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9DD5A36E-8435-4B1C-8462-1C956794FC17}"/>
                </a:ext>
              </a:extLst>
            </p:cNvPr>
            <p:cNvCxnSpPr/>
            <p:nvPr/>
          </p:nvCxnSpPr>
          <p:spPr>
            <a:xfrm>
              <a:off x="-600" y="4476170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D85A532-653B-4FD3-A2B9-908071F117D2}"/>
                </a:ext>
              </a:extLst>
            </p:cNvPr>
            <p:cNvCxnSpPr/>
            <p:nvPr/>
          </p:nvCxnSpPr>
          <p:spPr>
            <a:xfrm>
              <a:off x="-600" y="4737963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CDE1136A-6637-439F-89A7-D7F878D15199}"/>
                </a:ext>
              </a:extLst>
            </p:cNvPr>
            <p:cNvCxnSpPr/>
            <p:nvPr/>
          </p:nvCxnSpPr>
          <p:spPr>
            <a:xfrm>
              <a:off x="-600" y="4999756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4A0A4627-9F33-480E-B584-D2625F29AB95}"/>
                </a:ext>
              </a:extLst>
            </p:cNvPr>
            <p:cNvCxnSpPr/>
            <p:nvPr/>
          </p:nvCxnSpPr>
          <p:spPr>
            <a:xfrm>
              <a:off x="-600" y="5261549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49037A92-0EC2-4FBA-A847-8D0F6C45AD99}"/>
                </a:ext>
              </a:extLst>
            </p:cNvPr>
            <p:cNvCxnSpPr/>
            <p:nvPr/>
          </p:nvCxnSpPr>
          <p:spPr>
            <a:xfrm>
              <a:off x="-600" y="5523342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6B45D501-68B8-4FBE-8794-3CDE530B5439}"/>
                </a:ext>
              </a:extLst>
            </p:cNvPr>
            <p:cNvCxnSpPr/>
            <p:nvPr userDrawn="1"/>
          </p:nvCxnSpPr>
          <p:spPr>
            <a:xfrm>
              <a:off x="-600" y="578513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C63DF98-DC31-4B0A-9A94-9B9C493BD0DD}"/>
                </a:ext>
              </a:extLst>
            </p:cNvPr>
            <p:cNvCxnSpPr/>
            <p:nvPr userDrawn="1"/>
          </p:nvCxnSpPr>
          <p:spPr>
            <a:xfrm>
              <a:off x="-600" y="81106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D97F595-E8CD-4823-A296-F9B434149D35}"/>
                </a:ext>
              </a:extLst>
            </p:cNvPr>
            <p:cNvCxnSpPr/>
            <p:nvPr userDrawn="1"/>
          </p:nvCxnSpPr>
          <p:spPr>
            <a:xfrm>
              <a:off x="-600" y="630872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67767E29-78AA-446B-8F14-50FFE81A75D5}"/>
                </a:ext>
              </a:extLst>
            </p:cNvPr>
            <p:cNvCxnSpPr/>
            <p:nvPr userDrawn="1"/>
          </p:nvCxnSpPr>
          <p:spPr>
            <a:xfrm>
              <a:off x="-600" y="604692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Footnote measure">
            <a:extLst>
              <a:ext uri="{FF2B5EF4-FFF2-40B4-BE49-F238E27FC236}">
                <a16:creationId xmlns:a16="http://schemas.microsoft.com/office/drawing/2014/main" id="{FCB67C59-94A5-43D0-98F3-D2DF706BE60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50263" y="6308721"/>
            <a:ext cx="11090873" cy="261799"/>
          </a:xfrm>
          <a:prstGeom prst="rect">
            <a:avLst/>
          </a:prstGeom>
          <a:solidFill>
            <a:srgbClr val="FF0000">
              <a:alpha val="1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 rtl="0"/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Whitespace measure">
            <a:extLst>
              <a:ext uri="{FF2B5EF4-FFF2-40B4-BE49-F238E27FC236}">
                <a16:creationId xmlns:a16="http://schemas.microsoft.com/office/drawing/2014/main" id="{B9FA0CC8-4D85-4377-9762-D979C28385F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50864" y="1348221"/>
            <a:ext cx="11105556" cy="509202"/>
          </a:xfrm>
          <a:prstGeom prst="rect">
            <a:avLst/>
          </a:prstGeom>
          <a:solidFill>
            <a:srgbClr val="FF0000">
              <a:alpha val="5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 rtl="0"/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Live area">
            <a:extLst>
              <a:ext uri="{FF2B5EF4-FFF2-40B4-BE49-F238E27FC236}">
                <a16:creationId xmlns:a16="http://schemas.microsoft.com/office/drawing/2014/main" id="{AA787823-C275-4031-9AC7-3513520EE759}"/>
              </a:ext>
            </a:extLst>
          </p:cNvPr>
          <p:cNvSpPr/>
          <p:nvPr userDrawn="1"/>
        </p:nvSpPr>
        <p:spPr>
          <a:xfrm>
            <a:off x="550863" y="2120033"/>
            <a:ext cx="11090275" cy="4188692"/>
          </a:xfrm>
          <a:custGeom>
            <a:avLst/>
            <a:gdLst>
              <a:gd name="connsiteX0" fmla="*/ 0 w 10931999"/>
              <a:gd name="connsiteY0" fmla="*/ 0 h 5537797"/>
              <a:gd name="connsiteX1" fmla="*/ 10931999 w 10931999"/>
              <a:gd name="connsiteY1" fmla="*/ 0 h 5537797"/>
              <a:gd name="connsiteX2" fmla="*/ 10931999 w 10931999"/>
              <a:gd name="connsiteY2" fmla="*/ 5537797 h 5537797"/>
              <a:gd name="connsiteX3" fmla="*/ 0 w 10931999"/>
              <a:gd name="connsiteY3" fmla="*/ 5537797 h 5537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31999" h="5537797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>
            <a:solidFill>
              <a:schemeClr val="tx2">
                <a:alpha val="3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F1AA03C-D537-4B50-8AA2-DE2B0859A9E0}"/>
              </a:ext>
            </a:extLst>
          </p:cNvPr>
          <p:cNvGrpSpPr/>
          <p:nvPr userDrawn="1"/>
        </p:nvGrpSpPr>
        <p:grpSpPr>
          <a:xfrm>
            <a:off x="1215339" y="1857423"/>
            <a:ext cx="9763000" cy="4458091"/>
            <a:chOff x="1215339" y="549274"/>
            <a:chExt cx="9763000" cy="5759450"/>
          </a:xfrm>
          <a:solidFill>
            <a:schemeClr val="tx2">
              <a:lumMod val="40000"/>
              <a:lumOff val="60000"/>
              <a:alpha val="10000"/>
            </a:schemeClr>
          </a:solidFill>
        </p:grpSpPr>
        <p:sp>
          <p:nvSpPr>
            <p:cNvPr id="13" name="Rectangle 34">
              <a:extLst>
                <a:ext uri="{FF2B5EF4-FFF2-40B4-BE49-F238E27FC236}">
                  <a16:creationId xmlns:a16="http://schemas.microsoft.com/office/drawing/2014/main" id="{CEBF00D2-4B24-426D-BD4A-087B43FE37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" name="Rectangle 35">
              <a:extLst>
                <a:ext uri="{FF2B5EF4-FFF2-40B4-BE49-F238E27FC236}">
                  <a16:creationId xmlns:a16="http://schemas.microsoft.com/office/drawing/2014/main" id="{6BD82B4A-4BB0-4614-B13C-4CFCC7A227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9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Rectangle 36">
              <a:extLst>
                <a:ext uri="{FF2B5EF4-FFF2-40B4-BE49-F238E27FC236}">
                  <a16:creationId xmlns:a16="http://schemas.microsoft.com/office/drawing/2014/main" id="{BF9ACD5F-BA8A-4218-BB75-6E90A13EF9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7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Rectangle 37">
              <a:extLst>
                <a:ext uri="{FF2B5EF4-FFF2-40B4-BE49-F238E27FC236}">
                  <a16:creationId xmlns:a16="http://schemas.microsoft.com/office/drawing/2014/main" id="{379A22D2-DA96-41ED-9D9E-1155426DFF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42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Rectangle 38">
              <a:extLst>
                <a:ext uri="{FF2B5EF4-FFF2-40B4-BE49-F238E27FC236}">
                  <a16:creationId xmlns:a16="http://schemas.microsoft.com/office/drawing/2014/main" id="{7EF7963D-A1E1-415D-8969-F027A75D12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9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Rectangle 39">
              <a:extLst>
                <a:ext uri="{FF2B5EF4-FFF2-40B4-BE49-F238E27FC236}">
                  <a16:creationId xmlns:a16="http://schemas.microsoft.com/office/drawing/2014/main" id="{BBE34D05-AF10-4FE9-A201-F9E2A80270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2839" y="549274"/>
              <a:ext cx="288000" cy="5759450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Rectangle 40">
              <a:extLst>
                <a:ext uri="{FF2B5EF4-FFF2-40B4-BE49-F238E27FC236}">
                  <a16:creationId xmlns:a16="http://schemas.microsoft.com/office/drawing/2014/main" id="{349BF860-A8A0-4AB9-B299-1AF8241953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Rectangle 41">
              <a:extLst>
                <a:ext uri="{FF2B5EF4-FFF2-40B4-BE49-F238E27FC236}">
                  <a16:creationId xmlns:a16="http://schemas.microsoft.com/office/drawing/2014/main" id="{3E2A80A6-61F6-4E58-B43B-059CCD29CD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2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Rectangle 42">
              <a:extLst>
                <a:ext uri="{FF2B5EF4-FFF2-40B4-BE49-F238E27FC236}">
                  <a16:creationId xmlns:a16="http://schemas.microsoft.com/office/drawing/2014/main" id="{0F927BDE-7613-4A1B-9405-C18A0AA023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Rectangle 43">
              <a:extLst>
                <a:ext uri="{FF2B5EF4-FFF2-40B4-BE49-F238E27FC236}">
                  <a16:creationId xmlns:a16="http://schemas.microsoft.com/office/drawing/2014/main" id="{9D0BF9DE-3D09-432F-B97F-D68AFE1C7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7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3" name="Rectangle 44">
              <a:extLst>
                <a:ext uri="{FF2B5EF4-FFF2-40B4-BE49-F238E27FC236}">
                  <a16:creationId xmlns:a16="http://schemas.microsoft.com/office/drawing/2014/main" id="{7807AD9B-3A59-4121-9F68-FB858FD6D2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0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47" name="Footnote example">
            <a:extLst>
              <a:ext uri="{FF2B5EF4-FFF2-40B4-BE49-F238E27FC236}">
                <a16:creationId xmlns:a16="http://schemas.microsoft.com/office/drawing/2014/main" id="{DBF27226-1CAE-4EC3-B7C2-CD7BFF212B2F}"/>
              </a:ext>
            </a:extLst>
          </p:cNvPr>
          <p:cNvSpPr txBox="1"/>
          <p:nvPr userDrawn="1"/>
        </p:nvSpPr>
        <p:spPr>
          <a:xfrm>
            <a:off x="550862" y="6309543"/>
            <a:ext cx="9030915" cy="27770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Footnotes/Note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Source: Include a source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491C5D-1CCA-4AD2-960D-E2D2520D37E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490153" y="6450225"/>
            <a:ext cx="150682" cy="153888"/>
          </a:xfrm>
        </p:spPr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fld id="{2547BBBC-05CB-49BC-A9CC-2D869F0C1D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0E7A3A-8CB6-4833-8DE9-0C89242C0C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 rtl="0">
              <a:defRPr lang="en-IN" dirty="0"/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A5092CC-99B7-42FA-B922-D9A469AA61A3}"/>
              </a:ext>
            </a:extLst>
          </p:cNvPr>
          <p:cNvGrpSpPr/>
          <p:nvPr userDrawn="1"/>
        </p:nvGrpSpPr>
        <p:grpSpPr>
          <a:xfrm>
            <a:off x="550864" y="6156603"/>
            <a:ext cx="11089971" cy="55199"/>
            <a:chOff x="550864" y="6156603"/>
            <a:chExt cx="11089971" cy="55199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7D78F6B-68EA-4677-8270-E6CE44B4A9DC}"/>
                </a:ext>
              </a:extLst>
            </p:cNvPr>
            <p:cNvSpPr/>
            <p:nvPr userDrawn="1"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6E6D155-C668-4620-947B-CD6756DB3E3F}"/>
                </a:ext>
              </a:extLst>
            </p:cNvPr>
            <p:cNvSpPr/>
            <p:nvPr userDrawn="1"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3A33606-AE46-4272-A076-D6F1DEF2BE14}"/>
                </a:ext>
              </a:extLst>
            </p:cNvPr>
            <p:cNvSpPr/>
            <p:nvPr userDrawn="1"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7AF00D4-2C2C-4B64-AC48-30E76E740B68}"/>
                </a:ext>
              </a:extLst>
            </p:cNvPr>
            <p:cNvSpPr/>
            <p:nvPr userDrawn="1"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F53F07A3-100A-4285-8103-25EB4F518B92}"/>
                </a:ext>
              </a:extLst>
            </p:cNvPr>
            <p:cNvSpPr/>
            <p:nvPr userDrawn="1"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42008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215EE13-6A4D-48C2-A4B1-30DA07094A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4435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215EE13-6A4D-48C2-A4B1-30DA07094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374107-D284-43FC-B1C8-16D4730570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0862" y="6450225"/>
            <a:ext cx="65" cy="153888"/>
          </a:xfrm>
        </p:spPr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089CAE-6B9C-4764-B552-4C492F022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0153" y="6450225"/>
            <a:ext cx="150682" cy="153888"/>
          </a:xfrm>
        </p:spPr>
        <p:txBody>
          <a:bodyPr/>
          <a:lstStyle>
            <a:lvl1pPr rtl="0">
              <a:defRPr/>
            </a:lvl1pPr>
          </a:lstStyle>
          <a:p>
            <a:fld id="{2547BBBC-05CB-49BC-A9CC-2D869F0C1D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63ADCA1-24FF-455B-8752-2701976181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 rtl="0">
              <a:defRPr lang="en-IN" dirty="0"/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7DA5DEC-E51B-46CB-9299-8778528682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998828"/>
            <a:ext cx="11089972" cy="292388"/>
          </a:xfrm>
        </p:spPr>
        <p:txBody>
          <a:bodyPr>
            <a:spAutoFit/>
          </a:bodyPr>
          <a:lstStyle>
            <a:lvl1pPr rtl="0">
              <a:defRPr sz="2000">
                <a:solidFill>
                  <a:schemeClr val="tx2"/>
                </a:solidFill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25741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1541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 rtl="0"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1A2FF9-94F4-4F68-B7EE-D99445194A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50862" y="6465614"/>
            <a:ext cx="65" cy="138499"/>
          </a:xfrm>
        </p:spPr>
        <p:txBody>
          <a:bodyPr/>
          <a:lstStyle>
            <a:lvl1pPr rtl="0">
              <a:defRPr/>
            </a:lvl1pPr>
          </a:lstStyle>
          <a:p>
            <a:pPr>
              <a:lnSpc>
                <a:spcPct val="90000"/>
              </a:lnSpc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4C70F-8641-4AD5-A3F6-0EBA9C54EA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7691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544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43198"/>
          </a:xfrm>
        </p:spPr>
        <p:txBody>
          <a:bodyPr vert="horz"/>
          <a:lstStyle>
            <a:lvl1pPr rtl="0"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00214 Onboarding Automotive KPO.pptx</a:t>
            </a:r>
          </a:p>
        </p:txBody>
      </p:sp>
    </p:spTree>
    <p:extLst>
      <p:ext uri="{BB962C8B-B14F-4D97-AF65-F5344CB8AC3E}">
        <p14:creationId xmlns:p14="http://schemas.microsoft.com/office/powerpoint/2010/main" val="2904265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EDD4D39-BDF0-BC4A-D9B0-7026763A0C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727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EDD4D39-BDF0-BC4A-D9B0-7026763A0C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1" name="Google Shape;371;p81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372" name="Google Shape;372;p8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73" name="Google Shape;373;p81"/>
          <p:cNvSpPr txBox="1">
            <a:spLocks noGrp="1"/>
          </p:cNvSpPr>
          <p:nvPr>
            <p:ph type="ftr" idx="11"/>
          </p:nvPr>
        </p:nvSpPr>
        <p:spPr>
          <a:xfrm>
            <a:off x="550863" y="6450225"/>
            <a:ext cx="554513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906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59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C3BFC25-365A-4293-AFC3-06979C33ED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7" t="8006" r="4517" b="8006"/>
          <a:stretch/>
        </p:blipFill>
        <p:spPr>
          <a:xfrm>
            <a:off x="550861" y="549274"/>
            <a:ext cx="11090276" cy="575945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A92DE9B-D3C3-4D9E-909D-59D0ACABEB18}"/>
              </a:ext>
            </a:extLst>
          </p:cNvPr>
          <p:cNvSpPr/>
          <p:nvPr userDrawn="1"/>
        </p:nvSpPr>
        <p:spPr>
          <a:xfrm>
            <a:off x="1083553" y="1080000"/>
            <a:ext cx="5816186" cy="577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E0DC4FDC-E005-4772-ABB5-865B1C6251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31950" y="1603956"/>
            <a:ext cx="2497452" cy="574280"/>
          </a:xfrm>
          <a:prstGeom prst="rect">
            <a:avLst/>
          </a:prstGeom>
        </p:spPr>
      </p:pic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31950" y="5923689"/>
            <a:ext cx="1582738" cy="1938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rtl="0">
              <a:defRPr lang="en-IN" sz="140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fld id="{425B1E3C-CBF3-4E33-9039-AA4134BA46E5}" type="datetime4">
              <a:rPr lang="en-US" smtClean="0"/>
              <a:pPr marL="22860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t>April 17, 2023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1951" y="3610939"/>
            <a:ext cx="4799330" cy="1231106"/>
          </a:xfrm>
        </p:spPr>
        <p:txBody>
          <a:bodyPr vert="horz" wrap="square" lIns="0" tIns="0" rIns="0" bIns="0" rtlCol="0" anchor="b">
            <a:spAutoFit/>
          </a:bodyPr>
          <a:lstStyle>
            <a:lvl1pPr rtl="0">
              <a:defRPr lang="en-IN" sz="5000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1951" y="4892832"/>
            <a:ext cx="4799330" cy="292388"/>
          </a:xfrm>
        </p:spPr>
        <p:txBody>
          <a:bodyPr vert="horz" wrap="square" lIns="0" tIns="0" rIns="0" bIns="0" rtlCol="0" anchor="t">
            <a:spAutoFit/>
          </a:bodyPr>
          <a:lstStyle>
            <a:lvl1pPr rtl="0">
              <a:defRPr lang="en-IN" sz="2000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28600" lvl="0" indent="-228600"/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4854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Left">
  <p:cSld name="1/3 Blue on Left"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7EC9843-399E-3ED6-E1CB-25565010C6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4878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7EC9843-399E-3ED6-E1CB-25565010C6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" name="Google Shape;131;p56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019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en-US"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" name="Google Shape;132;p56"/>
          <p:cNvSpPr txBox="1">
            <a:spLocks noGrp="1"/>
          </p:cNvSpPr>
          <p:nvPr>
            <p:ph type="title"/>
          </p:nvPr>
        </p:nvSpPr>
        <p:spPr>
          <a:xfrm>
            <a:off x="539400" y="562841"/>
            <a:ext cx="3077171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133" name="Google Shape;133;p5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4" name="Google Shape;134;p56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5" name="Google Shape;135;p56"/>
          <p:cNvSpPr txBox="1">
            <a:spLocks noGrp="1"/>
          </p:cNvSpPr>
          <p:nvPr>
            <p:ph type="ftr" idx="11"/>
          </p:nvPr>
        </p:nvSpPr>
        <p:spPr>
          <a:xfrm>
            <a:off x="4360863" y="6450225"/>
            <a:ext cx="554513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70176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6C23D66-9090-E896-FDDB-C0F7E1655E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9223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6C23D66-9090-E896-FDDB-C0F7E1655E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443198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DRS research project vignette_Template sample.po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2472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+Subtitle Layout">
  <p:cSld name="1_Title+Subtitle Layout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6E0DE4F-15C3-4290-8A17-3BC7FA72ED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5644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6E0DE4F-15C3-4290-8A17-3BC7FA72ED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Google Shape;40;p64"/>
          <p:cNvSpPr txBox="1">
            <a:spLocks noGrp="1"/>
          </p:cNvSpPr>
          <p:nvPr>
            <p:ph type="ftr" idx="11"/>
          </p:nvPr>
        </p:nvSpPr>
        <p:spPr>
          <a:xfrm>
            <a:off x="550862" y="6450226"/>
            <a:ext cx="44082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41" name="Google Shape;41;p64"/>
          <p:cNvSpPr txBox="1">
            <a:spLocks noGrp="1"/>
          </p:cNvSpPr>
          <p:nvPr>
            <p:ph type="sldNum" idx="12"/>
          </p:nvPr>
        </p:nvSpPr>
        <p:spPr>
          <a:xfrm>
            <a:off x="11490154" y="6450229"/>
            <a:ext cx="150682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2" name="Google Shape;42;p64"/>
          <p:cNvSpPr txBox="1">
            <a:spLocks noGrp="1"/>
          </p:cNvSpPr>
          <p:nvPr>
            <p:ph type="title"/>
          </p:nvPr>
        </p:nvSpPr>
        <p:spPr>
          <a:xfrm>
            <a:off x="551713" y="439247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43" name="Google Shape;43;p64"/>
          <p:cNvSpPr txBox="1">
            <a:spLocks noGrp="1"/>
          </p:cNvSpPr>
          <p:nvPr>
            <p:ph type="body" idx="1"/>
          </p:nvPr>
        </p:nvSpPr>
        <p:spPr>
          <a:xfrm>
            <a:off x="558852" y="881143"/>
            <a:ext cx="11089972" cy="39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6D90F8"/>
              </a:buClr>
              <a:buSzPts val="1814"/>
              <a:buNone/>
              <a:defRPr sz="1814">
                <a:solidFill>
                  <a:srgbClr val="6D90F8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44327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4934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14727E-8174-4A53-8CD1-66A25E0EEA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5627" r="-1" b="6561"/>
          <a:stretch/>
        </p:blipFill>
        <p:spPr>
          <a:xfrm>
            <a:off x="0" y="1522048"/>
            <a:ext cx="12192000" cy="533595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36448" y="0"/>
            <a:ext cx="6363291" cy="630872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39000">
                <a:schemeClr val="tx2">
                  <a:lumMod val="75000"/>
                  <a:alpha val="95000"/>
                </a:schemeClr>
              </a:gs>
              <a:gs pos="7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3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6" y="3066686"/>
            <a:ext cx="5478239" cy="1231106"/>
          </a:xfrm>
        </p:spPr>
        <p:txBody>
          <a:bodyPr vert="horz" wrap="square" lIns="0" tIns="0" rIns="0" bIns="0" rtlCol="0" anchor="b">
            <a:spAutoFit/>
          </a:bodyPr>
          <a:lstStyle>
            <a:lvl1pPr rtl="0">
              <a:defRPr lang="en-IN" sz="5000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6" y="4348579"/>
            <a:ext cx="5478239" cy="292388"/>
          </a:xfrm>
        </p:spPr>
        <p:txBody>
          <a:bodyPr vert="horz" wrap="square" lIns="0" tIns="0" rIns="0" bIns="0" rtlCol="0" anchor="t">
            <a:spAutoFit/>
          </a:bodyPr>
          <a:lstStyle>
            <a:lvl1pPr rtl="0">
              <a:defRPr lang="en-IN" sz="2000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28600" lvl="0" indent="-228600"/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923689"/>
            <a:ext cx="1582738" cy="1938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rtl="0">
              <a:defRPr lang="en-IN" sz="140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fld id="{5218EABF-8BCD-4101-9C44-C141C5781D21}" type="datetime4">
              <a:rPr lang="en-US" smtClean="0"/>
              <a:pPr marL="22860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t>April 17, 2023</a:t>
            </a:fld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ABA95242-2DBA-46CA-863F-2946BC7666A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4010" y="450470"/>
            <a:ext cx="2705350" cy="622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328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215EE13-6A4D-48C2-A4B1-30DA07094A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379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215EE13-6A4D-48C2-A4B1-30DA07094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374107-D284-43FC-B1C8-16D4730570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0862" y="6465614"/>
            <a:ext cx="65" cy="138499"/>
          </a:xfrm>
          <a:noFill/>
        </p:spPr>
        <p:txBody>
          <a:bodyPr wrap="none" lIns="0" tIns="0" rIns="0" bIns="0" rtlCol="0" anchor="b">
            <a:spAutoFit/>
          </a:bodyPr>
          <a:lstStyle>
            <a:lvl1pPr rtl="0">
              <a:defRPr lang="en-US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endParaRPr lang="fr-FR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089CAE-6B9C-4764-B552-4C492F022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0153" y="6450225"/>
            <a:ext cx="150682" cy="153888"/>
          </a:xfrm>
        </p:spPr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fld id="{2547BBBC-05CB-49BC-A9CC-2D869F0C1D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63ADCA1-24FF-455B-8752-2701976181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 rtl="0">
              <a:defRPr lang="en-IN" dirty="0">
                <a:latin typeface="Franklin Gothic Demi" panose="020B070302010202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7DA5DEC-E51B-46CB-9299-8778528682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1028324"/>
            <a:ext cx="11089972" cy="292388"/>
          </a:xfrm>
        </p:spPr>
        <p:txBody>
          <a:bodyPr>
            <a:spAutoFit/>
          </a:bodyPr>
          <a:lstStyle>
            <a:lvl1pPr rtl="0">
              <a:defRPr sz="2000">
                <a:solidFill>
                  <a:schemeClr val="tx2">
                    <a:lumMod val="60000"/>
                    <a:lumOff val="40000"/>
                  </a:schemeClr>
                </a:solidFill>
                <a:latin typeface="Franklin Gothic Book" panose="020B050302010202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3294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8004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 rtl="0"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1A2FF9-94F4-4F68-B7EE-D99445194A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50862" y="6465614"/>
            <a:ext cx="65" cy="138499"/>
          </a:xfrm>
        </p:spPr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4C70F-8641-4AD5-A3F6-0EBA9C54EA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8423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0550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1A2FF9-94F4-4F68-B7EE-D99445194A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50862" y="6465614"/>
            <a:ext cx="65" cy="138499"/>
          </a:xfrm>
        </p:spPr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4C70F-8641-4AD5-A3F6-0EBA9C54EA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387B447-A450-42C7-A9DD-4D0312465071}"/>
              </a:ext>
            </a:extLst>
          </p:cNvPr>
          <p:cNvGrpSpPr/>
          <p:nvPr userDrawn="1"/>
        </p:nvGrpSpPr>
        <p:grpSpPr>
          <a:xfrm>
            <a:off x="11998459" y="6162188"/>
            <a:ext cx="68500" cy="441924"/>
            <a:chOff x="11998459" y="6162188"/>
            <a:chExt cx="68500" cy="441924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CAA054E-E386-48C9-96CD-97E490498E2B}"/>
                </a:ext>
              </a:extLst>
            </p:cNvPr>
            <p:cNvSpPr/>
            <p:nvPr/>
          </p:nvSpPr>
          <p:spPr>
            <a:xfrm rot="16200000">
              <a:off x="12063068" y="6476346"/>
              <a:ext cx="17" cy="1717"/>
            </a:xfrm>
            <a:custGeom>
              <a:avLst/>
              <a:gdLst>
                <a:gd name="connsiteX0" fmla="*/ 0 w 17"/>
                <a:gd name="connsiteY0" fmla="*/ 0 h 1717"/>
                <a:gd name="connsiteX1" fmla="*/ 17 w 17"/>
                <a:gd name="connsiteY1" fmla="*/ 0 h 1717"/>
                <a:gd name="connsiteX2" fmla="*/ 17 w 17"/>
                <a:gd name="connsiteY2" fmla="*/ 0 h 1717"/>
                <a:gd name="connsiteX3" fmla="*/ 0 w 17"/>
                <a:gd name="connsiteY3" fmla="*/ 0 h 1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" h="1717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C55D324-769F-47EC-96F7-AD603970C18C}"/>
                </a:ext>
              </a:extLst>
            </p:cNvPr>
            <p:cNvSpPr/>
            <p:nvPr/>
          </p:nvSpPr>
          <p:spPr>
            <a:xfrm rot="16200000">
              <a:off x="12023737" y="6455896"/>
              <a:ext cx="453" cy="271"/>
            </a:xfrm>
            <a:custGeom>
              <a:avLst/>
              <a:gdLst>
                <a:gd name="connsiteX0" fmla="*/ 0 w 453"/>
                <a:gd name="connsiteY0" fmla="*/ 0 h 271"/>
                <a:gd name="connsiteX1" fmla="*/ 447 w 453"/>
                <a:gd name="connsiteY1" fmla="*/ 240 h 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" h="271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C6014E8-FF72-41AD-A24F-058B3F2D1702}"/>
                </a:ext>
              </a:extLst>
            </p:cNvPr>
            <p:cNvSpPr/>
            <p:nvPr/>
          </p:nvSpPr>
          <p:spPr>
            <a:xfrm rot="16200000">
              <a:off x="12023907" y="6477766"/>
              <a:ext cx="15" cy="76"/>
            </a:xfrm>
            <a:custGeom>
              <a:avLst/>
              <a:gdLst>
                <a:gd name="connsiteX0" fmla="*/ 15 w 15"/>
                <a:gd name="connsiteY0" fmla="*/ 38 h 76"/>
                <a:gd name="connsiteX1" fmla="*/ 15 w 15"/>
                <a:gd name="connsiteY1" fmla="*/ 38 h 76"/>
                <a:gd name="connsiteX2" fmla="*/ 15 w 15"/>
                <a:gd name="connsiteY2" fmla="*/ 38 h 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" h="76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C75E8B0-18B9-4101-BAF3-2BAA4F85EC94}"/>
                </a:ext>
              </a:extLst>
            </p:cNvPr>
            <p:cNvSpPr/>
            <p:nvPr/>
          </p:nvSpPr>
          <p:spPr>
            <a:xfrm rot="16200000">
              <a:off x="12021636" y="6473651"/>
              <a:ext cx="261" cy="103"/>
            </a:xfrm>
            <a:custGeom>
              <a:avLst/>
              <a:gdLst>
                <a:gd name="connsiteX0" fmla="*/ 262 w 261"/>
                <a:gd name="connsiteY0" fmla="*/ 0 h 103"/>
                <a:gd name="connsiteX1" fmla="*/ 56 w 261"/>
                <a:gd name="connsiteY1" fmla="*/ 103 h 103"/>
                <a:gd name="connsiteX2" fmla="*/ 56 w 261"/>
                <a:gd name="connsiteY2" fmla="*/ 103 h 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" h="103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D5C647B-1E0E-490D-BE85-16E17F8FC3C5}"/>
                </a:ext>
              </a:extLst>
            </p:cNvPr>
            <p:cNvSpPr/>
            <p:nvPr/>
          </p:nvSpPr>
          <p:spPr>
            <a:xfrm rot="16200000">
              <a:off x="12015635" y="6442208"/>
              <a:ext cx="51323" cy="51323"/>
            </a:xfrm>
            <a:custGeom>
              <a:avLst/>
              <a:gdLst>
                <a:gd name="connsiteX0" fmla="*/ 25662 w 51323"/>
                <a:gd name="connsiteY0" fmla="*/ 0 h 51323"/>
                <a:gd name="connsiteX1" fmla="*/ 0 w 51323"/>
                <a:gd name="connsiteY1" fmla="*/ 25662 h 51323"/>
                <a:gd name="connsiteX2" fmla="*/ 25662 w 51323"/>
                <a:gd name="connsiteY2" fmla="*/ 51323 h 51323"/>
                <a:gd name="connsiteX3" fmla="*/ 51324 w 51323"/>
                <a:gd name="connsiteY3" fmla="*/ 25662 h 51323"/>
                <a:gd name="connsiteX4" fmla="*/ 51324 w 51323"/>
                <a:gd name="connsiteY4" fmla="*/ 25610 h 51323"/>
                <a:gd name="connsiteX5" fmla="*/ 25679 w 51323"/>
                <a:gd name="connsiteY5" fmla="*/ 0 h 51323"/>
                <a:gd name="connsiteX6" fmla="*/ 25662 w 51323"/>
                <a:gd name="connsiteY6" fmla="*/ 0 h 51323"/>
                <a:gd name="connsiteX7" fmla="*/ 26967 w 51323"/>
                <a:gd name="connsiteY7" fmla="*/ 15648 h 51323"/>
                <a:gd name="connsiteX8" fmla="*/ 26967 w 51323"/>
                <a:gd name="connsiteY8" fmla="*/ 15837 h 51323"/>
                <a:gd name="connsiteX9" fmla="*/ 26744 w 51323"/>
                <a:gd name="connsiteY9" fmla="*/ 15837 h 51323"/>
                <a:gd name="connsiteX10" fmla="*/ 26933 w 51323"/>
                <a:gd name="connsiteY10" fmla="*/ 16163 h 51323"/>
                <a:gd name="connsiteX11" fmla="*/ 27036 w 51323"/>
                <a:gd name="connsiteY11" fmla="*/ 16163 h 51323"/>
                <a:gd name="connsiteX12" fmla="*/ 27294 w 51323"/>
                <a:gd name="connsiteY12" fmla="*/ 16489 h 51323"/>
                <a:gd name="connsiteX13" fmla="*/ 27294 w 51323"/>
                <a:gd name="connsiteY13" fmla="*/ 16489 h 51323"/>
                <a:gd name="connsiteX14" fmla="*/ 27294 w 51323"/>
                <a:gd name="connsiteY14" fmla="*/ 16489 h 51323"/>
                <a:gd name="connsiteX15" fmla="*/ 27294 w 51323"/>
                <a:gd name="connsiteY15" fmla="*/ 16489 h 51323"/>
                <a:gd name="connsiteX16" fmla="*/ 27156 w 51323"/>
                <a:gd name="connsiteY16" fmla="*/ 16489 h 51323"/>
                <a:gd name="connsiteX17" fmla="*/ 27156 w 51323"/>
                <a:gd name="connsiteY17" fmla="*/ 16593 h 51323"/>
                <a:gd name="connsiteX18" fmla="*/ 27156 w 51323"/>
                <a:gd name="connsiteY18" fmla="*/ 16593 h 51323"/>
                <a:gd name="connsiteX19" fmla="*/ 27379 w 51323"/>
                <a:gd name="connsiteY19" fmla="*/ 16593 h 51323"/>
                <a:gd name="connsiteX20" fmla="*/ 27276 w 51323"/>
                <a:gd name="connsiteY20" fmla="*/ 16799 h 51323"/>
                <a:gd name="connsiteX21" fmla="*/ 26744 w 51323"/>
                <a:gd name="connsiteY21" fmla="*/ 16799 h 51323"/>
                <a:gd name="connsiteX22" fmla="*/ 26074 w 51323"/>
                <a:gd name="connsiteY22" fmla="*/ 16902 h 51323"/>
                <a:gd name="connsiteX23" fmla="*/ 25868 w 51323"/>
                <a:gd name="connsiteY23" fmla="*/ 16988 h 51323"/>
                <a:gd name="connsiteX24" fmla="*/ 25559 w 51323"/>
                <a:gd name="connsiteY24" fmla="*/ 17142 h 51323"/>
                <a:gd name="connsiteX25" fmla="*/ 25404 w 51323"/>
                <a:gd name="connsiteY25" fmla="*/ 17142 h 51323"/>
                <a:gd name="connsiteX26" fmla="*/ 25816 w 51323"/>
                <a:gd name="connsiteY26" fmla="*/ 16764 h 51323"/>
                <a:gd name="connsiteX27" fmla="*/ 26194 w 51323"/>
                <a:gd name="connsiteY27" fmla="*/ 16764 h 51323"/>
                <a:gd name="connsiteX28" fmla="*/ 26349 w 51323"/>
                <a:gd name="connsiteY28" fmla="*/ 16541 h 51323"/>
                <a:gd name="connsiteX29" fmla="*/ 26005 w 51323"/>
                <a:gd name="connsiteY29" fmla="*/ 16627 h 51323"/>
                <a:gd name="connsiteX30" fmla="*/ 25902 w 51323"/>
                <a:gd name="connsiteY30" fmla="*/ 16627 h 51323"/>
                <a:gd name="connsiteX31" fmla="*/ 25662 w 51323"/>
                <a:gd name="connsiteY31" fmla="*/ 16627 h 51323"/>
                <a:gd name="connsiteX32" fmla="*/ 25662 w 51323"/>
                <a:gd name="connsiteY32" fmla="*/ 16627 h 51323"/>
                <a:gd name="connsiteX33" fmla="*/ 25662 w 51323"/>
                <a:gd name="connsiteY33" fmla="*/ 16627 h 51323"/>
                <a:gd name="connsiteX34" fmla="*/ 26005 w 51323"/>
                <a:gd name="connsiteY34" fmla="*/ 16215 h 51323"/>
                <a:gd name="connsiteX35" fmla="*/ 25834 w 51323"/>
                <a:gd name="connsiteY35" fmla="*/ 16215 h 51323"/>
                <a:gd name="connsiteX36" fmla="*/ 26297 w 51323"/>
                <a:gd name="connsiteY36" fmla="*/ 16060 h 51323"/>
                <a:gd name="connsiteX37" fmla="*/ 26297 w 51323"/>
                <a:gd name="connsiteY37" fmla="*/ 16060 h 51323"/>
                <a:gd name="connsiteX38" fmla="*/ 26297 w 51323"/>
                <a:gd name="connsiteY38" fmla="*/ 15785 h 51323"/>
                <a:gd name="connsiteX39" fmla="*/ 26194 w 51323"/>
                <a:gd name="connsiteY39" fmla="*/ 15785 h 51323"/>
                <a:gd name="connsiteX40" fmla="*/ 26194 w 51323"/>
                <a:gd name="connsiteY40" fmla="*/ 15785 h 51323"/>
                <a:gd name="connsiteX41" fmla="*/ 26194 w 51323"/>
                <a:gd name="connsiteY41" fmla="*/ 15493 h 51323"/>
                <a:gd name="connsiteX42" fmla="*/ 25834 w 51323"/>
                <a:gd name="connsiteY42" fmla="*/ 15493 h 51323"/>
                <a:gd name="connsiteX43" fmla="*/ 25834 w 51323"/>
                <a:gd name="connsiteY43" fmla="*/ 15596 h 51323"/>
                <a:gd name="connsiteX44" fmla="*/ 25713 w 51323"/>
                <a:gd name="connsiteY44" fmla="*/ 15596 h 51323"/>
                <a:gd name="connsiteX45" fmla="*/ 25713 w 51323"/>
                <a:gd name="connsiteY45" fmla="*/ 15459 h 51323"/>
                <a:gd name="connsiteX46" fmla="*/ 25713 w 51323"/>
                <a:gd name="connsiteY46" fmla="*/ 15459 h 51323"/>
                <a:gd name="connsiteX47" fmla="*/ 25816 w 51323"/>
                <a:gd name="connsiteY47" fmla="*/ 15236 h 51323"/>
                <a:gd name="connsiteX48" fmla="*/ 25816 w 51323"/>
                <a:gd name="connsiteY48" fmla="*/ 15064 h 51323"/>
                <a:gd name="connsiteX49" fmla="*/ 25816 w 51323"/>
                <a:gd name="connsiteY49" fmla="*/ 14961 h 51323"/>
                <a:gd name="connsiteX50" fmla="*/ 25816 w 51323"/>
                <a:gd name="connsiteY50" fmla="*/ 15081 h 51323"/>
                <a:gd name="connsiteX51" fmla="*/ 25816 w 51323"/>
                <a:gd name="connsiteY51" fmla="*/ 15081 h 51323"/>
                <a:gd name="connsiteX52" fmla="*/ 25816 w 51323"/>
                <a:gd name="connsiteY52" fmla="*/ 15081 h 51323"/>
                <a:gd name="connsiteX53" fmla="*/ 25816 w 51323"/>
                <a:gd name="connsiteY53" fmla="*/ 15081 h 51323"/>
                <a:gd name="connsiteX54" fmla="*/ 25816 w 51323"/>
                <a:gd name="connsiteY54" fmla="*/ 15356 h 51323"/>
                <a:gd name="connsiteX55" fmla="*/ 25816 w 51323"/>
                <a:gd name="connsiteY55" fmla="*/ 15167 h 51323"/>
                <a:gd name="connsiteX56" fmla="*/ 25919 w 51323"/>
                <a:gd name="connsiteY56" fmla="*/ 14823 h 51323"/>
                <a:gd name="connsiteX57" fmla="*/ 25919 w 51323"/>
                <a:gd name="connsiteY57" fmla="*/ 14823 h 51323"/>
                <a:gd name="connsiteX58" fmla="*/ 25731 w 51323"/>
                <a:gd name="connsiteY58" fmla="*/ 14823 h 51323"/>
                <a:gd name="connsiteX59" fmla="*/ 25731 w 51323"/>
                <a:gd name="connsiteY59" fmla="*/ 14823 h 51323"/>
                <a:gd name="connsiteX60" fmla="*/ 25868 w 51323"/>
                <a:gd name="connsiteY60" fmla="*/ 14737 h 51323"/>
                <a:gd name="connsiteX61" fmla="*/ 25868 w 51323"/>
                <a:gd name="connsiteY61" fmla="*/ 14737 h 51323"/>
                <a:gd name="connsiteX62" fmla="*/ 25868 w 51323"/>
                <a:gd name="connsiteY62" fmla="*/ 14737 h 51323"/>
                <a:gd name="connsiteX63" fmla="*/ 25868 w 51323"/>
                <a:gd name="connsiteY63" fmla="*/ 14737 h 51323"/>
                <a:gd name="connsiteX64" fmla="*/ 25868 w 51323"/>
                <a:gd name="connsiteY64" fmla="*/ 14737 h 51323"/>
                <a:gd name="connsiteX65" fmla="*/ 25868 w 51323"/>
                <a:gd name="connsiteY65" fmla="*/ 14737 h 51323"/>
                <a:gd name="connsiteX66" fmla="*/ 25868 w 51323"/>
                <a:gd name="connsiteY66" fmla="*/ 14652 h 51323"/>
                <a:gd name="connsiteX67" fmla="*/ 25868 w 51323"/>
                <a:gd name="connsiteY67" fmla="*/ 14652 h 51323"/>
                <a:gd name="connsiteX68" fmla="*/ 25868 w 51323"/>
                <a:gd name="connsiteY68" fmla="*/ 14514 h 51323"/>
                <a:gd name="connsiteX69" fmla="*/ 25868 w 51323"/>
                <a:gd name="connsiteY69" fmla="*/ 14514 h 51323"/>
                <a:gd name="connsiteX70" fmla="*/ 25868 w 51323"/>
                <a:gd name="connsiteY70" fmla="*/ 14514 h 51323"/>
                <a:gd name="connsiteX71" fmla="*/ 25971 w 51323"/>
                <a:gd name="connsiteY71" fmla="*/ 14514 h 51323"/>
                <a:gd name="connsiteX72" fmla="*/ 25971 w 51323"/>
                <a:gd name="connsiteY72" fmla="*/ 14428 h 51323"/>
                <a:gd name="connsiteX73" fmla="*/ 26126 w 51323"/>
                <a:gd name="connsiteY73" fmla="*/ 14291 h 51323"/>
                <a:gd name="connsiteX74" fmla="*/ 26126 w 51323"/>
                <a:gd name="connsiteY74" fmla="*/ 14291 h 51323"/>
                <a:gd name="connsiteX75" fmla="*/ 26126 w 51323"/>
                <a:gd name="connsiteY75" fmla="*/ 14531 h 51323"/>
                <a:gd name="connsiteX76" fmla="*/ 26126 w 51323"/>
                <a:gd name="connsiteY76" fmla="*/ 14531 h 51323"/>
                <a:gd name="connsiteX77" fmla="*/ 26486 w 51323"/>
                <a:gd name="connsiteY77" fmla="*/ 14531 h 51323"/>
                <a:gd name="connsiteX78" fmla="*/ 26263 w 51323"/>
                <a:gd name="connsiteY78" fmla="*/ 14995 h 51323"/>
                <a:gd name="connsiteX79" fmla="*/ 26263 w 51323"/>
                <a:gd name="connsiteY79" fmla="*/ 14995 h 51323"/>
                <a:gd name="connsiteX80" fmla="*/ 26005 w 51323"/>
                <a:gd name="connsiteY80" fmla="*/ 14995 h 51323"/>
                <a:gd name="connsiteX81" fmla="*/ 26224 w 51323"/>
                <a:gd name="connsiteY81" fmla="*/ 15000 h 51323"/>
                <a:gd name="connsiteX82" fmla="*/ 26229 w 51323"/>
                <a:gd name="connsiteY82" fmla="*/ 14995 h 51323"/>
                <a:gd name="connsiteX83" fmla="*/ 26589 w 51323"/>
                <a:gd name="connsiteY83" fmla="*/ 15579 h 51323"/>
                <a:gd name="connsiteX84" fmla="*/ 26967 w 51323"/>
                <a:gd name="connsiteY84" fmla="*/ 15613 h 51323"/>
                <a:gd name="connsiteX85" fmla="*/ 18138 w 51323"/>
                <a:gd name="connsiteY85" fmla="*/ 47476 h 51323"/>
                <a:gd name="connsiteX86" fmla="*/ 18138 w 51323"/>
                <a:gd name="connsiteY86" fmla="*/ 47476 h 51323"/>
                <a:gd name="connsiteX87" fmla="*/ 18138 w 51323"/>
                <a:gd name="connsiteY87" fmla="*/ 47476 h 51323"/>
                <a:gd name="connsiteX88" fmla="*/ 18138 w 51323"/>
                <a:gd name="connsiteY88" fmla="*/ 47476 h 51323"/>
                <a:gd name="connsiteX89" fmla="*/ 18224 w 51323"/>
                <a:gd name="connsiteY89" fmla="*/ 47476 h 51323"/>
                <a:gd name="connsiteX90" fmla="*/ 18224 w 51323"/>
                <a:gd name="connsiteY90" fmla="*/ 47476 h 51323"/>
                <a:gd name="connsiteX91" fmla="*/ 17984 w 51323"/>
                <a:gd name="connsiteY91" fmla="*/ 47338 h 51323"/>
                <a:gd name="connsiteX92" fmla="*/ 17984 w 51323"/>
                <a:gd name="connsiteY92" fmla="*/ 47338 h 51323"/>
                <a:gd name="connsiteX93" fmla="*/ 17984 w 51323"/>
                <a:gd name="connsiteY93" fmla="*/ 47338 h 51323"/>
                <a:gd name="connsiteX94" fmla="*/ 18070 w 51323"/>
                <a:gd name="connsiteY94" fmla="*/ 47338 h 51323"/>
                <a:gd name="connsiteX95" fmla="*/ 18070 w 51323"/>
                <a:gd name="connsiteY95" fmla="*/ 47338 h 51323"/>
                <a:gd name="connsiteX96" fmla="*/ 18070 w 51323"/>
                <a:gd name="connsiteY96" fmla="*/ 47338 h 51323"/>
                <a:gd name="connsiteX97" fmla="*/ 17795 w 51323"/>
                <a:gd name="connsiteY97" fmla="*/ 47218 h 51323"/>
                <a:gd name="connsiteX98" fmla="*/ 17795 w 51323"/>
                <a:gd name="connsiteY98" fmla="*/ 47218 h 51323"/>
                <a:gd name="connsiteX99" fmla="*/ 17795 w 51323"/>
                <a:gd name="connsiteY99" fmla="*/ 47218 h 51323"/>
                <a:gd name="connsiteX100" fmla="*/ 17692 w 51323"/>
                <a:gd name="connsiteY100" fmla="*/ 47218 h 51323"/>
                <a:gd name="connsiteX101" fmla="*/ 17692 w 51323"/>
                <a:gd name="connsiteY101" fmla="*/ 47218 h 51323"/>
                <a:gd name="connsiteX102" fmla="*/ 17692 w 51323"/>
                <a:gd name="connsiteY102" fmla="*/ 47218 h 51323"/>
                <a:gd name="connsiteX103" fmla="*/ 17692 w 51323"/>
                <a:gd name="connsiteY103" fmla="*/ 47218 h 51323"/>
                <a:gd name="connsiteX104" fmla="*/ 17864 w 51323"/>
                <a:gd name="connsiteY104" fmla="*/ 47218 h 51323"/>
                <a:gd name="connsiteX105" fmla="*/ 17658 w 51323"/>
                <a:gd name="connsiteY105" fmla="*/ 47218 h 51323"/>
                <a:gd name="connsiteX106" fmla="*/ 17658 w 51323"/>
                <a:gd name="connsiteY106" fmla="*/ 47218 h 51323"/>
                <a:gd name="connsiteX107" fmla="*/ 17417 w 51323"/>
                <a:gd name="connsiteY107" fmla="*/ 47115 h 51323"/>
                <a:gd name="connsiteX108" fmla="*/ 17417 w 51323"/>
                <a:gd name="connsiteY108" fmla="*/ 47115 h 51323"/>
                <a:gd name="connsiteX109" fmla="*/ 17417 w 51323"/>
                <a:gd name="connsiteY109" fmla="*/ 47115 h 51323"/>
                <a:gd name="connsiteX110" fmla="*/ 17280 w 51323"/>
                <a:gd name="connsiteY110" fmla="*/ 47115 h 51323"/>
                <a:gd name="connsiteX111" fmla="*/ 17469 w 51323"/>
                <a:gd name="connsiteY111" fmla="*/ 47218 h 51323"/>
                <a:gd name="connsiteX112" fmla="*/ 17194 w 51323"/>
                <a:gd name="connsiteY112" fmla="*/ 47081 h 51323"/>
                <a:gd name="connsiteX113" fmla="*/ 17194 w 51323"/>
                <a:gd name="connsiteY113" fmla="*/ 47081 h 51323"/>
                <a:gd name="connsiteX114" fmla="*/ 17366 w 51323"/>
                <a:gd name="connsiteY114" fmla="*/ 47081 h 51323"/>
                <a:gd name="connsiteX115" fmla="*/ 17228 w 51323"/>
                <a:gd name="connsiteY115" fmla="*/ 47081 h 51323"/>
                <a:gd name="connsiteX116" fmla="*/ 17366 w 51323"/>
                <a:gd name="connsiteY116" fmla="*/ 47081 h 51323"/>
                <a:gd name="connsiteX117" fmla="*/ 17108 w 51323"/>
                <a:gd name="connsiteY117" fmla="*/ 46961 h 51323"/>
                <a:gd name="connsiteX118" fmla="*/ 17108 w 51323"/>
                <a:gd name="connsiteY118" fmla="*/ 46961 h 51323"/>
                <a:gd name="connsiteX119" fmla="*/ 17005 w 51323"/>
                <a:gd name="connsiteY119" fmla="*/ 46961 h 51323"/>
                <a:gd name="connsiteX120" fmla="*/ 17005 w 51323"/>
                <a:gd name="connsiteY120" fmla="*/ 46961 h 51323"/>
                <a:gd name="connsiteX121" fmla="*/ 16782 w 51323"/>
                <a:gd name="connsiteY121" fmla="*/ 46858 h 51323"/>
                <a:gd name="connsiteX122" fmla="*/ 16782 w 51323"/>
                <a:gd name="connsiteY122" fmla="*/ 46858 h 51323"/>
                <a:gd name="connsiteX123" fmla="*/ 16696 w 51323"/>
                <a:gd name="connsiteY123" fmla="*/ 46858 h 51323"/>
                <a:gd name="connsiteX124" fmla="*/ 16696 w 51323"/>
                <a:gd name="connsiteY124" fmla="*/ 46858 h 51323"/>
                <a:gd name="connsiteX125" fmla="*/ 16301 w 51323"/>
                <a:gd name="connsiteY125" fmla="*/ 46651 h 51323"/>
                <a:gd name="connsiteX126" fmla="*/ 16301 w 51323"/>
                <a:gd name="connsiteY126" fmla="*/ 46651 h 51323"/>
                <a:gd name="connsiteX127" fmla="*/ 16129 w 51323"/>
                <a:gd name="connsiteY127" fmla="*/ 46548 h 51323"/>
                <a:gd name="connsiteX128" fmla="*/ 16283 w 51323"/>
                <a:gd name="connsiteY128" fmla="*/ 46651 h 51323"/>
                <a:gd name="connsiteX129" fmla="*/ 15940 w 51323"/>
                <a:gd name="connsiteY129" fmla="*/ 46462 h 51323"/>
                <a:gd name="connsiteX130" fmla="*/ 15940 w 51323"/>
                <a:gd name="connsiteY130" fmla="*/ 46462 h 51323"/>
                <a:gd name="connsiteX131" fmla="*/ 15837 w 51323"/>
                <a:gd name="connsiteY131" fmla="*/ 46462 h 51323"/>
                <a:gd name="connsiteX132" fmla="*/ 15837 w 51323"/>
                <a:gd name="connsiteY132" fmla="*/ 46462 h 51323"/>
                <a:gd name="connsiteX133" fmla="*/ 15665 w 51323"/>
                <a:gd name="connsiteY133" fmla="*/ 46359 h 51323"/>
                <a:gd name="connsiteX134" fmla="*/ 15665 w 51323"/>
                <a:gd name="connsiteY134" fmla="*/ 46359 h 51323"/>
                <a:gd name="connsiteX135" fmla="*/ 15665 w 51323"/>
                <a:gd name="connsiteY135" fmla="*/ 46359 h 51323"/>
                <a:gd name="connsiteX136" fmla="*/ 15665 w 51323"/>
                <a:gd name="connsiteY136" fmla="*/ 46359 h 51323"/>
                <a:gd name="connsiteX137" fmla="*/ 15510 w 51323"/>
                <a:gd name="connsiteY137" fmla="*/ 46274 h 51323"/>
                <a:gd name="connsiteX138" fmla="*/ 15510 w 51323"/>
                <a:gd name="connsiteY138" fmla="*/ 46274 h 51323"/>
                <a:gd name="connsiteX139" fmla="*/ 15339 w 51323"/>
                <a:gd name="connsiteY139" fmla="*/ 46153 h 51323"/>
                <a:gd name="connsiteX140" fmla="*/ 15339 w 51323"/>
                <a:gd name="connsiteY140" fmla="*/ 46153 h 51323"/>
                <a:gd name="connsiteX141" fmla="*/ 15201 w 51323"/>
                <a:gd name="connsiteY141" fmla="*/ 46153 h 51323"/>
                <a:gd name="connsiteX142" fmla="*/ 15201 w 51323"/>
                <a:gd name="connsiteY142" fmla="*/ 46153 h 51323"/>
                <a:gd name="connsiteX143" fmla="*/ 15081 w 51323"/>
                <a:gd name="connsiteY143" fmla="*/ 46153 h 51323"/>
                <a:gd name="connsiteX144" fmla="*/ 15081 w 51323"/>
                <a:gd name="connsiteY144" fmla="*/ 46153 h 51323"/>
                <a:gd name="connsiteX145" fmla="*/ 15218 w 51323"/>
                <a:gd name="connsiteY145" fmla="*/ 46239 h 51323"/>
                <a:gd name="connsiteX146" fmla="*/ 15081 w 51323"/>
                <a:gd name="connsiteY146" fmla="*/ 46153 h 51323"/>
                <a:gd name="connsiteX147" fmla="*/ 15081 w 51323"/>
                <a:gd name="connsiteY147" fmla="*/ 46153 h 51323"/>
                <a:gd name="connsiteX148" fmla="*/ 14961 w 51323"/>
                <a:gd name="connsiteY148" fmla="*/ 46153 h 51323"/>
                <a:gd name="connsiteX149" fmla="*/ 14961 w 51323"/>
                <a:gd name="connsiteY149" fmla="*/ 46153 h 51323"/>
                <a:gd name="connsiteX150" fmla="*/ 14823 w 51323"/>
                <a:gd name="connsiteY150" fmla="*/ 46067 h 51323"/>
                <a:gd name="connsiteX151" fmla="*/ 15012 w 51323"/>
                <a:gd name="connsiteY151" fmla="*/ 46170 h 51323"/>
                <a:gd name="connsiteX152" fmla="*/ 15184 w 51323"/>
                <a:gd name="connsiteY152" fmla="*/ 46274 h 51323"/>
                <a:gd name="connsiteX153" fmla="*/ 14720 w 51323"/>
                <a:gd name="connsiteY153" fmla="*/ 45947 h 51323"/>
                <a:gd name="connsiteX154" fmla="*/ 14720 w 51323"/>
                <a:gd name="connsiteY154" fmla="*/ 45947 h 51323"/>
                <a:gd name="connsiteX155" fmla="*/ 13879 w 51323"/>
                <a:gd name="connsiteY155" fmla="*/ 45312 h 51323"/>
                <a:gd name="connsiteX156" fmla="*/ 13982 w 51323"/>
                <a:gd name="connsiteY156" fmla="*/ 45312 h 51323"/>
                <a:gd name="connsiteX157" fmla="*/ 13827 w 51323"/>
                <a:gd name="connsiteY157" fmla="*/ 45191 h 51323"/>
                <a:gd name="connsiteX158" fmla="*/ 13827 w 51323"/>
                <a:gd name="connsiteY158" fmla="*/ 45191 h 51323"/>
                <a:gd name="connsiteX159" fmla="*/ 13724 w 51323"/>
                <a:gd name="connsiteY159" fmla="*/ 45191 h 51323"/>
                <a:gd name="connsiteX160" fmla="*/ 13724 w 51323"/>
                <a:gd name="connsiteY160" fmla="*/ 45191 h 51323"/>
                <a:gd name="connsiteX161" fmla="*/ 13724 w 51323"/>
                <a:gd name="connsiteY161" fmla="*/ 45191 h 51323"/>
                <a:gd name="connsiteX162" fmla="*/ 13724 w 51323"/>
                <a:gd name="connsiteY162" fmla="*/ 45191 h 51323"/>
                <a:gd name="connsiteX163" fmla="*/ 13106 w 51323"/>
                <a:gd name="connsiteY163" fmla="*/ 44710 h 51323"/>
                <a:gd name="connsiteX164" fmla="*/ 13106 w 51323"/>
                <a:gd name="connsiteY164" fmla="*/ 44710 h 51323"/>
                <a:gd name="connsiteX165" fmla="*/ 12316 w 51323"/>
                <a:gd name="connsiteY165" fmla="*/ 44023 h 51323"/>
                <a:gd name="connsiteX166" fmla="*/ 12316 w 51323"/>
                <a:gd name="connsiteY166" fmla="*/ 44023 h 51323"/>
                <a:gd name="connsiteX167" fmla="*/ 9567 w 51323"/>
                <a:gd name="connsiteY167" fmla="*/ 40434 h 51323"/>
                <a:gd name="connsiteX168" fmla="*/ 9567 w 51323"/>
                <a:gd name="connsiteY168" fmla="*/ 40434 h 51323"/>
                <a:gd name="connsiteX169" fmla="*/ 8021 w 51323"/>
                <a:gd name="connsiteY169" fmla="*/ 37788 h 51323"/>
                <a:gd name="connsiteX170" fmla="*/ 8021 w 51323"/>
                <a:gd name="connsiteY170" fmla="*/ 37788 h 51323"/>
                <a:gd name="connsiteX171" fmla="*/ 5840 w 51323"/>
                <a:gd name="connsiteY171" fmla="*/ 33494 h 51323"/>
                <a:gd name="connsiteX172" fmla="*/ 5840 w 51323"/>
                <a:gd name="connsiteY172" fmla="*/ 33580 h 51323"/>
                <a:gd name="connsiteX173" fmla="*/ 5840 w 51323"/>
                <a:gd name="connsiteY173" fmla="*/ 33477 h 51323"/>
                <a:gd name="connsiteX174" fmla="*/ 5840 w 51323"/>
                <a:gd name="connsiteY174" fmla="*/ 33614 h 51323"/>
                <a:gd name="connsiteX175" fmla="*/ 5222 w 51323"/>
                <a:gd name="connsiteY175" fmla="*/ 30299 h 51323"/>
                <a:gd name="connsiteX176" fmla="*/ 5222 w 51323"/>
                <a:gd name="connsiteY176" fmla="*/ 30042 h 51323"/>
                <a:gd name="connsiteX177" fmla="*/ 5222 w 51323"/>
                <a:gd name="connsiteY177" fmla="*/ 30128 h 51323"/>
                <a:gd name="connsiteX178" fmla="*/ 5067 w 51323"/>
                <a:gd name="connsiteY178" fmla="*/ 29784 h 51323"/>
                <a:gd name="connsiteX179" fmla="*/ 5067 w 51323"/>
                <a:gd name="connsiteY179" fmla="*/ 29784 h 51323"/>
                <a:gd name="connsiteX180" fmla="*/ 5067 w 51323"/>
                <a:gd name="connsiteY180" fmla="*/ 29784 h 51323"/>
                <a:gd name="connsiteX181" fmla="*/ 5067 w 51323"/>
                <a:gd name="connsiteY181" fmla="*/ 29544 h 51323"/>
                <a:gd name="connsiteX182" fmla="*/ 5067 w 51323"/>
                <a:gd name="connsiteY182" fmla="*/ 29715 h 51323"/>
                <a:gd name="connsiteX183" fmla="*/ 4844 w 51323"/>
                <a:gd name="connsiteY183" fmla="*/ 28908 h 51323"/>
                <a:gd name="connsiteX184" fmla="*/ 4844 w 51323"/>
                <a:gd name="connsiteY184" fmla="*/ 29183 h 51323"/>
                <a:gd name="connsiteX185" fmla="*/ 4552 w 51323"/>
                <a:gd name="connsiteY185" fmla="*/ 27843 h 51323"/>
                <a:gd name="connsiteX186" fmla="*/ 4552 w 51323"/>
                <a:gd name="connsiteY186" fmla="*/ 27740 h 51323"/>
                <a:gd name="connsiteX187" fmla="*/ 4552 w 51323"/>
                <a:gd name="connsiteY187" fmla="*/ 27740 h 51323"/>
                <a:gd name="connsiteX188" fmla="*/ 4552 w 51323"/>
                <a:gd name="connsiteY188" fmla="*/ 27740 h 51323"/>
                <a:gd name="connsiteX189" fmla="*/ 4552 w 51323"/>
                <a:gd name="connsiteY189" fmla="*/ 27740 h 51323"/>
                <a:gd name="connsiteX190" fmla="*/ 4208 w 51323"/>
                <a:gd name="connsiteY190" fmla="*/ 26297 h 51323"/>
                <a:gd name="connsiteX191" fmla="*/ 4208 w 51323"/>
                <a:gd name="connsiteY191" fmla="*/ 26503 h 51323"/>
                <a:gd name="connsiteX192" fmla="*/ 4208 w 51323"/>
                <a:gd name="connsiteY192" fmla="*/ 26297 h 51323"/>
                <a:gd name="connsiteX193" fmla="*/ 4208 w 51323"/>
                <a:gd name="connsiteY193" fmla="*/ 26297 h 51323"/>
                <a:gd name="connsiteX194" fmla="*/ 4208 w 51323"/>
                <a:gd name="connsiteY194" fmla="*/ 26297 h 51323"/>
                <a:gd name="connsiteX195" fmla="*/ 4208 w 51323"/>
                <a:gd name="connsiteY195" fmla="*/ 26297 h 51323"/>
                <a:gd name="connsiteX196" fmla="*/ 4208 w 51323"/>
                <a:gd name="connsiteY196" fmla="*/ 26297 h 51323"/>
                <a:gd name="connsiteX197" fmla="*/ 4208 w 51323"/>
                <a:gd name="connsiteY197" fmla="*/ 26400 h 51323"/>
                <a:gd name="connsiteX198" fmla="*/ 4208 w 51323"/>
                <a:gd name="connsiteY198" fmla="*/ 26400 h 51323"/>
                <a:gd name="connsiteX199" fmla="*/ 4208 w 51323"/>
                <a:gd name="connsiteY199" fmla="*/ 26400 h 51323"/>
                <a:gd name="connsiteX200" fmla="*/ 4208 w 51323"/>
                <a:gd name="connsiteY200" fmla="*/ 26400 h 51323"/>
                <a:gd name="connsiteX201" fmla="*/ 4208 w 51323"/>
                <a:gd name="connsiteY201" fmla="*/ 26091 h 51323"/>
                <a:gd name="connsiteX202" fmla="*/ 4208 w 51323"/>
                <a:gd name="connsiteY202" fmla="*/ 26091 h 51323"/>
                <a:gd name="connsiteX203" fmla="*/ 4208 w 51323"/>
                <a:gd name="connsiteY203" fmla="*/ 25919 h 51323"/>
                <a:gd name="connsiteX204" fmla="*/ 4208 w 51323"/>
                <a:gd name="connsiteY204" fmla="*/ 25919 h 51323"/>
                <a:gd name="connsiteX205" fmla="*/ 4208 w 51323"/>
                <a:gd name="connsiteY205" fmla="*/ 25198 h 51323"/>
                <a:gd name="connsiteX206" fmla="*/ 4208 w 51323"/>
                <a:gd name="connsiteY206" fmla="*/ 25198 h 51323"/>
                <a:gd name="connsiteX207" fmla="*/ 4208 w 51323"/>
                <a:gd name="connsiteY207" fmla="*/ 25078 h 51323"/>
                <a:gd name="connsiteX208" fmla="*/ 4208 w 51323"/>
                <a:gd name="connsiteY208" fmla="*/ 25078 h 51323"/>
                <a:gd name="connsiteX209" fmla="*/ 19787 w 51323"/>
                <a:gd name="connsiteY209" fmla="*/ 4706 h 51323"/>
                <a:gd name="connsiteX210" fmla="*/ 19787 w 51323"/>
                <a:gd name="connsiteY210" fmla="*/ 4706 h 51323"/>
                <a:gd name="connsiteX211" fmla="*/ 19994 w 51323"/>
                <a:gd name="connsiteY211" fmla="*/ 4706 h 51323"/>
                <a:gd name="connsiteX212" fmla="*/ 19994 w 51323"/>
                <a:gd name="connsiteY212" fmla="*/ 4706 h 51323"/>
                <a:gd name="connsiteX213" fmla="*/ 20217 w 51323"/>
                <a:gd name="connsiteY213" fmla="*/ 4706 h 51323"/>
                <a:gd name="connsiteX214" fmla="*/ 20062 w 51323"/>
                <a:gd name="connsiteY214" fmla="*/ 4706 h 51323"/>
                <a:gd name="connsiteX215" fmla="*/ 20337 w 51323"/>
                <a:gd name="connsiteY215" fmla="*/ 4706 h 51323"/>
                <a:gd name="connsiteX216" fmla="*/ 20234 w 51323"/>
                <a:gd name="connsiteY216" fmla="*/ 4706 h 51323"/>
                <a:gd name="connsiteX217" fmla="*/ 20234 w 51323"/>
                <a:gd name="connsiteY217" fmla="*/ 4706 h 51323"/>
                <a:gd name="connsiteX218" fmla="*/ 20423 w 51323"/>
                <a:gd name="connsiteY218" fmla="*/ 4706 h 51323"/>
                <a:gd name="connsiteX219" fmla="*/ 20423 w 51323"/>
                <a:gd name="connsiteY219" fmla="*/ 4706 h 51323"/>
                <a:gd name="connsiteX220" fmla="*/ 21711 w 51323"/>
                <a:gd name="connsiteY220" fmla="*/ 4414 h 51323"/>
                <a:gd name="connsiteX221" fmla="*/ 21711 w 51323"/>
                <a:gd name="connsiteY221" fmla="*/ 4414 h 51323"/>
                <a:gd name="connsiteX222" fmla="*/ 22038 w 51323"/>
                <a:gd name="connsiteY222" fmla="*/ 4414 h 51323"/>
                <a:gd name="connsiteX223" fmla="*/ 21814 w 51323"/>
                <a:gd name="connsiteY223" fmla="*/ 4414 h 51323"/>
                <a:gd name="connsiteX224" fmla="*/ 21814 w 51323"/>
                <a:gd name="connsiteY224" fmla="*/ 4414 h 51323"/>
                <a:gd name="connsiteX225" fmla="*/ 22415 w 51323"/>
                <a:gd name="connsiteY225" fmla="*/ 4414 h 51323"/>
                <a:gd name="connsiteX226" fmla="*/ 22415 w 51323"/>
                <a:gd name="connsiteY226" fmla="*/ 4414 h 51323"/>
                <a:gd name="connsiteX227" fmla="*/ 22106 w 51323"/>
                <a:gd name="connsiteY227" fmla="*/ 4414 h 51323"/>
                <a:gd name="connsiteX228" fmla="*/ 22398 w 51323"/>
                <a:gd name="connsiteY228" fmla="*/ 4414 h 51323"/>
                <a:gd name="connsiteX229" fmla="*/ 22398 w 51323"/>
                <a:gd name="connsiteY229" fmla="*/ 4414 h 51323"/>
                <a:gd name="connsiteX230" fmla="*/ 22690 w 51323"/>
                <a:gd name="connsiteY230" fmla="*/ 4414 h 51323"/>
                <a:gd name="connsiteX231" fmla="*/ 22587 w 51323"/>
                <a:gd name="connsiteY231" fmla="*/ 4414 h 51323"/>
                <a:gd name="connsiteX232" fmla="*/ 22484 w 51323"/>
                <a:gd name="connsiteY232" fmla="*/ 4414 h 51323"/>
                <a:gd name="connsiteX233" fmla="*/ 22725 w 51323"/>
                <a:gd name="connsiteY233" fmla="*/ 4414 h 51323"/>
                <a:gd name="connsiteX234" fmla="*/ 22347 w 51323"/>
                <a:gd name="connsiteY234" fmla="*/ 4414 h 51323"/>
                <a:gd name="connsiteX235" fmla="*/ 22244 w 51323"/>
                <a:gd name="connsiteY235" fmla="*/ 4414 h 51323"/>
                <a:gd name="connsiteX236" fmla="*/ 22055 w 51323"/>
                <a:gd name="connsiteY236" fmla="*/ 4414 h 51323"/>
                <a:gd name="connsiteX237" fmla="*/ 22415 w 51323"/>
                <a:gd name="connsiteY237" fmla="*/ 4414 h 51323"/>
                <a:gd name="connsiteX238" fmla="*/ 22020 w 51323"/>
                <a:gd name="connsiteY238" fmla="*/ 4414 h 51323"/>
                <a:gd name="connsiteX239" fmla="*/ 22020 w 51323"/>
                <a:gd name="connsiteY239" fmla="*/ 4414 h 51323"/>
                <a:gd name="connsiteX240" fmla="*/ 21608 w 51323"/>
                <a:gd name="connsiteY240" fmla="*/ 4414 h 51323"/>
                <a:gd name="connsiteX241" fmla="*/ 21608 w 51323"/>
                <a:gd name="connsiteY241" fmla="*/ 4414 h 51323"/>
                <a:gd name="connsiteX242" fmla="*/ 21213 w 51323"/>
                <a:gd name="connsiteY242" fmla="*/ 4500 h 51323"/>
                <a:gd name="connsiteX243" fmla="*/ 21385 w 51323"/>
                <a:gd name="connsiteY243" fmla="*/ 4500 h 51323"/>
                <a:gd name="connsiteX244" fmla="*/ 21385 w 51323"/>
                <a:gd name="connsiteY244" fmla="*/ 4500 h 51323"/>
                <a:gd name="connsiteX245" fmla="*/ 20973 w 51323"/>
                <a:gd name="connsiteY245" fmla="*/ 4586 h 51323"/>
                <a:gd name="connsiteX246" fmla="*/ 21144 w 51323"/>
                <a:gd name="connsiteY246" fmla="*/ 4586 h 51323"/>
                <a:gd name="connsiteX247" fmla="*/ 20955 w 51323"/>
                <a:gd name="connsiteY247" fmla="*/ 4586 h 51323"/>
                <a:gd name="connsiteX248" fmla="*/ 20955 w 51323"/>
                <a:gd name="connsiteY248" fmla="*/ 4586 h 51323"/>
                <a:gd name="connsiteX249" fmla="*/ 20835 w 51323"/>
                <a:gd name="connsiteY249" fmla="*/ 4586 h 51323"/>
                <a:gd name="connsiteX250" fmla="*/ 20835 w 51323"/>
                <a:gd name="connsiteY250" fmla="*/ 4586 h 51323"/>
                <a:gd name="connsiteX251" fmla="*/ 20835 w 51323"/>
                <a:gd name="connsiteY251" fmla="*/ 4586 h 51323"/>
                <a:gd name="connsiteX252" fmla="*/ 20835 w 51323"/>
                <a:gd name="connsiteY252" fmla="*/ 4586 h 51323"/>
                <a:gd name="connsiteX253" fmla="*/ 20835 w 51323"/>
                <a:gd name="connsiteY253" fmla="*/ 4586 h 51323"/>
                <a:gd name="connsiteX254" fmla="*/ 20663 w 51323"/>
                <a:gd name="connsiteY254" fmla="*/ 4586 h 51323"/>
                <a:gd name="connsiteX255" fmla="*/ 20663 w 51323"/>
                <a:gd name="connsiteY255" fmla="*/ 4586 h 51323"/>
                <a:gd name="connsiteX256" fmla="*/ 20663 w 51323"/>
                <a:gd name="connsiteY256" fmla="*/ 4586 h 51323"/>
                <a:gd name="connsiteX257" fmla="*/ 20663 w 51323"/>
                <a:gd name="connsiteY257" fmla="*/ 4586 h 51323"/>
                <a:gd name="connsiteX258" fmla="*/ 20560 w 51323"/>
                <a:gd name="connsiteY258" fmla="*/ 4586 h 51323"/>
                <a:gd name="connsiteX259" fmla="*/ 20560 w 51323"/>
                <a:gd name="connsiteY259" fmla="*/ 4586 h 51323"/>
                <a:gd name="connsiteX260" fmla="*/ 20114 w 51323"/>
                <a:gd name="connsiteY260" fmla="*/ 4706 h 51323"/>
                <a:gd name="connsiteX261" fmla="*/ 20114 w 51323"/>
                <a:gd name="connsiteY261" fmla="*/ 4706 h 51323"/>
                <a:gd name="connsiteX262" fmla="*/ 19787 w 51323"/>
                <a:gd name="connsiteY262" fmla="*/ 4827 h 51323"/>
                <a:gd name="connsiteX263" fmla="*/ 19787 w 51323"/>
                <a:gd name="connsiteY263" fmla="*/ 4827 h 51323"/>
                <a:gd name="connsiteX264" fmla="*/ 19392 w 51323"/>
                <a:gd name="connsiteY264" fmla="*/ 4947 h 51323"/>
                <a:gd name="connsiteX265" fmla="*/ 19392 w 51323"/>
                <a:gd name="connsiteY265" fmla="*/ 4947 h 51323"/>
                <a:gd name="connsiteX266" fmla="*/ 19100 w 51323"/>
                <a:gd name="connsiteY266" fmla="*/ 5153 h 51323"/>
                <a:gd name="connsiteX267" fmla="*/ 19100 w 51323"/>
                <a:gd name="connsiteY267" fmla="*/ 5153 h 51323"/>
                <a:gd name="connsiteX268" fmla="*/ 18997 w 51323"/>
                <a:gd name="connsiteY268" fmla="*/ 5153 h 51323"/>
                <a:gd name="connsiteX269" fmla="*/ 18997 w 51323"/>
                <a:gd name="connsiteY269" fmla="*/ 5153 h 51323"/>
                <a:gd name="connsiteX270" fmla="*/ 18430 w 51323"/>
                <a:gd name="connsiteY270" fmla="*/ 5359 h 51323"/>
                <a:gd name="connsiteX271" fmla="*/ 18568 w 51323"/>
                <a:gd name="connsiteY271" fmla="*/ 5359 h 51323"/>
                <a:gd name="connsiteX272" fmla="*/ 18568 w 51323"/>
                <a:gd name="connsiteY272" fmla="*/ 5359 h 51323"/>
                <a:gd name="connsiteX273" fmla="*/ 19169 w 51323"/>
                <a:gd name="connsiteY273" fmla="*/ 5187 h 51323"/>
                <a:gd name="connsiteX274" fmla="*/ 19169 w 51323"/>
                <a:gd name="connsiteY274" fmla="*/ 5187 h 51323"/>
                <a:gd name="connsiteX275" fmla="*/ 19341 w 51323"/>
                <a:gd name="connsiteY275" fmla="*/ 5187 h 51323"/>
                <a:gd name="connsiteX276" fmla="*/ 19461 w 51323"/>
                <a:gd name="connsiteY276" fmla="*/ 5187 h 51323"/>
                <a:gd name="connsiteX277" fmla="*/ 19186 w 51323"/>
                <a:gd name="connsiteY277" fmla="*/ 5187 h 51323"/>
                <a:gd name="connsiteX278" fmla="*/ 19186 w 51323"/>
                <a:gd name="connsiteY278" fmla="*/ 5187 h 51323"/>
                <a:gd name="connsiteX279" fmla="*/ 19032 w 51323"/>
                <a:gd name="connsiteY279" fmla="*/ 5187 h 51323"/>
                <a:gd name="connsiteX280" fmla="*/ 19032 w 51323"/>
                <a:gd name="connsiteY280" fmla="*/ 5187 h 51323"/>
                <a:gd name="connsiteX281" fmla="*/ 18911 w 51323"/>
                <a:gd name="connsiteY281" fmla="*/ 5187 h 51323"/>
                <a:gd name="connsiteX282" fmla="*/ 18911 w 51323"/>
                <a:gd name="connsiteY282" fmla="*/ 5187 h 51323"/>
                <a:gd name="connsiteX283" fmla="*/ 18740 w 51323"/>
                <a:gd name="connsiteY283" fmla="*/ 5187 h 51323"/>
                <a:gd name="connsiteX284" fmla="*/ 18740 w 51323"/>
                <a:gd name="connsiteY284" fmla="*/ 5187 h 51323"/>
                <a:gd name="connsiteX285" fmla="*/ 18894 w 51323"/>
                <a:gd name="connsiteY285" fmla="*/ 5187 h 51323"/>
                <a:gd name="connsiteX286" fmla="*/ 18894 w 51323"/>
                <a:gd name="connsiteY286" fmla="*/ 5187 h 51323"/>
                <a:gd name="connsiteX287" fmla="*/ 19049 w 51323"/>
                <a:gd name="connsiteY287" fmla="*/ 5187 h 51323"/>
                <a:gd name="connsiteX288" fmla="*/ 19049 w 51323"/>
                <a:gd name="connsiteY288" fmla="*/ 5187 h 51323"/>
                <a:gd name="connsiteX289" fmla="*/ 18860 w 51323"/>
                <a:gd name="connsiteY289" fmla="*/ 5187 h 51323"/>
                <a:gd name="connsiteX290" fmla="*/ 19032 w 51323"/>
                <a:gd name="connsiteY290" fmla="*/ 5187 h 51323"/>
                <a:gd name="connsiteX291" fmla="*/ 19186 w 51323"/>
                <a:gd name="connsiteY291" fmla="*/ 5187 h 51323"/>
                <a:gd name="connsiteX292" fmla="*/ 19289 w 51323"/>
                <a:gd name="connsiteY292" fmla="*/ 5187 h 51323"/>
                <a:gd name="connsiteX293" fmla="*/ 19650 w 51323"/>
                <a:gd name="connsiteY293" fmla="*/ 5084 h 51323"/>
                <a:gd name="connsiteX294" fmla="*/ 18482 w 51323"/>
                <a:gd name="connsiteY294" fmla="*/ 5497 h 51323"/>
                <a:gd name="connsiteX295" fmla="*/ 18654 w 51323"/>
                <a:gd name="connsiteY295" fmla="*/ 5497 h 51323"/>
                <a:gd name="connsiteX296" fmla="*/ 18654 w 51323"/>
                <a:gd name="connsiteY296" fmla="*/ 5497 h 51323"/>
                <a:gd name="connsiteX297" fmla="*/ 18740 w 51323"/>
                <a:gd name="connsiteY297" fmla="*/ 5497 h 51323"/>
                <a:gd name="connsiteX298" fmla="*/ 18894 w 51323"/>
                <a:gd name="connsiteY298" fmla="*/ 5497 h 51323"/>
                <a:gd name="connsiteX299" fmla="*/ 18894 w 51323"/>
                <a:gd name="connsiteY299" fmla="*/ 5497 h 51323"/>
                <a:gd name="connsiteX300" fmla="*/ 19032 w 51323"/>
                <a:gd name="connsiteY300" fmla="*/ 5497 h 51323"/>
                <a:gd name="connsiteX301" fmla="*/ 18722 w 51323"/>
                <a:gd name="connsiteY301" fmla="*/ 5617 h 51323"/>
                <a:gd name="connsiteX302" fmla="*/ 18722 w 51323"/>
                <a:gd name="connsiteY302" fmla="*/ 5617 h 51323"/>
                <a:gd name="connsiteX303" fmla="*/ 18585 w 51323"/>
                <a:gd name="connsiteY303" fmla="*/ 5617 h 51323"/>
                <a:gd name="connsiteX304" fmla="*/ 18585 w 51323"/>
                <a:gd name="connsiteY304" fmla="*/ 5617 h 51323"/>
                <a:gd name="connsiteX305" fmla="*/ 18413 w 51323"/>
                <a:gd name="connsiteY305" fmla="*/ 5617 h 51323"/>
                <a:gd name="connsiteX306" fmla="*/ 18688 w 51323"/>
                <a:gd name="connsiteY306" fmla="*/ 5617 h 51323"/>
                <a:gd name="connsiteX307" fmla="*/ 17743 w 51323"/>
                <a:gd name="connsiteY307" fmla="*/ 6098 h 51323"/>
                <a:gd name="connsiteX308" fmla="*/ 17743 w 51323"/>
                <a:gd name="connsiteY308" fmla="*/ 6098 h 51323"/>
                <a:gd name="connsiteX309" fmla="*/ 17554 w 51323"/>
                <a:gd name="connsiteY309" fmla="*/ 6201 h 51323"/>
                <a:gd name="connsiteX310" fmla="*/ 17743 w 51323"/>
                <a:gd name="connsiteY310" fmla="*/ 6201 h 51323"/>
                <a:gd name="connsiteX311" fmla="*/ 17743 w 51323"/>
                <a:gd name="connsiteY311" fmla="*/ 6201 h 51323"/>
                <a:gd name="connsiteX312" fmla="*/ 17743 w 51323"/>
                <a:gd name="connsiteY312" fmla="*/ 6201 h 51323"/>
                <a:gd name="connsiteX313" fmla="*/ 17159 w 51323"/>
                <a:gd name="connsiteY313" fmla="*/ 6476 h 51323"/>
                <a:gd name="connsiteX314" fmla="*/ 17159 w 51323"/>
                <a:gd name="connsiteY314" fmla="*/ 6476 h 51323"/>
                <a:gd name="connsiteX315" fmla="*/ 17039 w 51323"/>
                <a:gd name="connsiteY315" fmla="*/ 6476 h 51323"/>
                <a:gd name="connsiteX316" fmla="*/ 17039 w 51323"/>
                <a:gd name="connsiteY316" fmla="*/ 6476 h 51323"/>
                <a:gd name="connsiteX317" fmla="*/ 16867 w 51323"/>
                <a:gd name="connsiteY317" fmla="*/ 6579 h 51323"/>
                <a:gd name="connsiteX318" fmla="*/ 16867 w 51323"/>
                <a:gd name="connsiteY318" fmla="*/ 6579 h 51323"/>
                <a:gd name="connsiteX319" fmla="*/ 16730 w 51323"/>
                <a:gd name="connsiteY319" fmla="*/ 6716 h 51323"/>
                <a:gd name="connsiteX320" fmla="*/ 16730 w 51323"/>
                <a:gd name="connsiteY320" fmla="*/ 6716 h 51323"/>
                <a:gd name="connsiteX321" fmla="*/ 16730 w 51323"/>
                <a:gd name="connsiteY321" fmla="*/ 6716 h 51323"/>
                <a:gd name="connsiteX322" fmla="*/ 16730 w 51323"/>
                <a:gd name="connsiteY322" fmla="*/ 6716 h 51323"/>
                <a:gd name="connsiteX323" fmla="*/ 16730 w 51323"/>
                <a:gd name="connsiteY323" fmla="*/ 6716 h 51323"/>
                <a:gd name="connsiteX324" fmla="*/ 16885 w 51323"/>
                <a:gd name="connsiteY324" fmla="*/ 6716 h 51323"/>
                <a:gd name="connsiteX325" fmla="*/ 16627 w 51323"/>
                <a:gd name="connsiteY325" fmla="*/ 6853 h 51323"/>
                <a:gd name="connsiteX326" fmla="*/ 16627 w 51323"/>
                <a:gd name="connsiteY326" fmla="*/ 6853 h 51323"/>
                <a:gd name="connsiteX327" fmla="*/ 16386 w 51323"/>
                <a:gd name="connsiteY327" fmla="*/ 6991 h 51323"/>
                <a:gd name="connsiteX328" fmla="*/ 16558 w 51323"/>
                <a:gd name="connsiteY328" fmla="*/ 6991 h 51323"/>
                <a:gd name="connsiteX329" fmla="*/ 16077 w 51323"/>
                <a:gd name="connsiteY329" fmla="*/ 7266 h 51323"/>
                <a:gd name="connsiteX330" fmla="*/ 16077 w 51323"/>
                <a:gd name="connsiteY330" fmla="*/ 7266 h 51323"/>
                <a:gd name="connsiteX331" fmla="*/ 16077 w 51323"/>
                <a:gd name="connsiteY331" fmla="*/ 7266 h 51323"/>
                <a:gd name="connsiteX332" fmla="*/ 16833 w 51323"/>
                <a:gd name="connsiteY332" fmla="*/ 6888 h 51323"/>
                <a:gd name="connsiteX333" fmla="*/ 16833 w 51323"/>
                <a:gd name="connsiteY333" fmla="*/ 6888 h 51323"/>
                <a:gd name="connsiteX334" fmla="*/ 16833 w 51323"/>
                <a:gd name="connsiteY334" fmla="*/ 6888 h 51323"/>
                <a:gd name="connsiteX335" fmla="*/ 16833 w 51323"/>
                <a:gd name="connsiteY335" fmla="*/ 6888 h 51323"/>
                <a:gd name="connsiteX336" fmla="*/ 16936 w 51323"/>
                <a:gd name="connsiteY336" fmla="*/ 6888 h 51323"/>
                <a:gd name="connsiteX337" fmla="*/ 16833 w 51323"/>
                <a:gd name="connsiteY337" fmla="*/ 6888 h 51323"/>
                <a:gd name="connsiteX338" fmla="*/ 17056 w 51323"/>
                <a:gd name="connsiteY338" fmla="*/ 6785 h 51323"/>
                <a:gd name="connsiteX339" fmla="*/ 17056 w 51323"/>
                <a:gd name="connsiteY339" fmla="*/ 6785 h 51323"/>
                <a:gd name="connsiteX340" fmla="*/ 17159 w 51323"/>
                <a:gd name="connsiteY340" fmla="*/ 6785 h 51323"/>
                <a:gd name="connsiteX341" fmla="*/ 17039 w 51323"/>
                <a:gd name="connsiteY341" fmla="*/ 6785 h 51323"/>
                <a:gd name="connsiteX342" fmla="*/ 17142 w 51323"/>
                <a:gd name="connsiteY342" fmla="*/ 6785 h 51323"/>
                <a:gd name="connsiteX343" fmla="*/ 17022 w 51323"/>
                <a:gd name="connsiteY343" fmla="*/ 6785 h 51323"/>
                <a:gd name="connsiteX344" fmla="*/ 17022 w 51323"/>
                <a:gd name="connsiteY344" fmla="*/ 6785 h 51323"/>
                <a:gd name="connsiteX345" fmla="*/ 16885 w 51323"/>
                <a:gd name="connsiteY345" fmla="*/ 6785 h 51323"/>
                <a:gd name="connsiteX346" fmla="*/ 17005 w 51323"/>
                <a:gd name="connsiteY346" fmla="*/ 6785 h 51323"/>
                <a:gd name="connsiteX347" fmla="*/ 17314 w 51323"/>
                <a:gd name="connsiteY347" fmla="*/ 6785 h 51323"/>
                <a:gd name="connsiteX348" fmla="*/ 17314 w 51323"/>
                <a:gd name="connsiteY348" fmla="*/ 6785 h 51323"/>
                <a:gd name="connsiteX349" fmla="*/ 16696 w 51323"/>
                <a:gd name="connsiteY349" fmla="*/ 7145 h 51323"/>
                <a:gd name="connsiteX350" fmla="*/ 16696 w 51323"/>
                <a:gd name="connsiteY350" fmla="*/ 7145 h 51323"/>
                <a:gd name="connsiteX351" fmla="*/ 16696 w 51323"/>
                <a:gd name="connsiteY351" fmla="*/ 7145 h 51323"/>
                <a:gd name="connsiteX352" fmla="*/ 16696 w 51323"/>
                <a:gd name="connsiteY352" fmla="*/ 7145 h 51323"/>
                <a:gd name="connsiteX353" fmla="*/ 16696 w 51323"/>
                <a:gd name="connsiteY353" fmla="*/ 7145 h 51323"/>
                <a:gd name="connsiteX354" fmla="*/ 16696 w 51323"/>
                <a:gd name="connsiteY354" fmla="*/ 7145 h 51323"/>
                <a:gd name="connsiteX355" fmla="*/ 16696 w 51323"/>
                <a:gd name="connsiteY355" fmla="*/ 7145 h 51323"/>
                <a:gd name="connsiteX356" fmla="*/ 16455 w 51323"/>
                <a:gd name="connsiteY356" fmla="*/ 7300 h 51323"/>
                <a:gd name="connsiteX357" fmla="*/ 16455 w 51323"/>
                <a:gd name="connsiteY357" fmla="*/ 7300 h 51323"/>
                <a:gd name="connsiteX358" fmla="*/ 16455 w 51323"/>
                <a:gd name="connsiteY358" fmla="*/ 7386 h 51323"/>
                <a:gd name="connsiteX359" fmla="*/ 16610 w 51323"/>
                <a:gd name="connsiteY359" fmla="*/ 7386 h 51323"/>
                <a:gd name="connsiteX360" fmla="*/ 16610 w 51323"/>
                <a:gd name="connsiteY360" fmla="*/ 7386 h 51323"/>
                <a:gd name="connsiteX361" fmla="*/ 16610 w 51323"/>
                <a:gd name="connsiteY361" fmla="*/ 7489 h 51323"/>
                <a:gd name="connsiteX362" fmla="*/ 16610 w 51323"/>
                <a:gd name="connsiteY362" fmla="*/ 7489 h 51323"/>
                <a:gd name="connsiteX363" fmla="*/ 16610 w 51323"/>
                <a:gd name="connsiteY363" fmla="*/ 7489 h 51323"/>
                <a:gd name="connsiteX364" fmla="*/ 16610 w 51323"/>
                <a:gd name="connsiteY364" fmla="*/ 7592 h 51323"/>
                <a:gd name="connsiteX365" fmla="*/ 16970 w 51323"/>
                <a:gd name="connsiteY365" fmla="*/ 7334 h 51323"/>
                <a:gd name="connsiteX366" fmla="*/ 16970 w 51323"/>
                <a:gd name="connsiteY366" fmla="*/ 7334 h 51323"/>
                <a:gd name="connsiteX367" fmla="*/ 17108 w 51323"/>
                <a:gd name="connsiteY367" fmla="*/ 7334 h 51323"/>
                <a:gd name="connsiteX368" fmla="*/ 17245 w 51323"/>
                <a:gd name="connsiteY368" fmla="*/ 7334 h 51323"/>
                <a:gd name="connsiteX369" fmla="*/ 17142 w 51323"/>
                <a:gd name="connsiteY369" fmla="*/ 7334 h 51323"/>
                <a:gd name="connsiteX370" fmla="*/ 17142 w 51323"/>
                <a:gd name="connsiteY370" fmla="*/ 7334 h 51323"/>
                <a:gd name="connsiteX371" fmla="*/ 16988 w 51323"/>
                <a:gd name="connsiteY371" fmla="*/ 7437 h 51323"/>
                <a:gd name="connsiteX372" fmla="*/ 16988 w 51323"/>
                <a:gd name="connsiteY372" fmla="*/ 7437 h 51323"/>
                <a:gd name="connsiteX373" fmla="*/ 16867 w 51323"/>
                <a:gd name="connsiteY373" fmla="*/ 7437 h 51323"/>
                <a:gd name="connsiteX374" fmla="*/ 16610 w 51323"/>
                <a:gd name="connsiteY374" fmla="*/ 7575 h 51323"/>
                <a:gd name="connsiteX375" fmla="*/ 16610 w 51323"/>
                <a:gd name="connsiteY375" fmla="*/ 7575 h 51323"/>
                <a:gd name="connsiteX376" fmla="*/ 16421 w 51323"/>
                <a:gd name="connsiteY376" fmla="*/ 7678 h 51323"/>
                <a:gd name="connsiteX377" fmla="*/ 16421 w 51323"/>
                <a:gd name="connsiteY377" fmla="*/ 7678 h 51323"/>
                <a:gd name="connsiteX378" fmla="*/ 16283 w 51323"/>
                <a:gd name="connsiteY378" fmla="*/ 7678 h 51323"/>
                <a:gd name="connsiteX379" fmla="*/ 16283 w 51323"/>
                <a:gd name="connsiteY379" fmla="*/ 7678 h 51323"/>
                <a:gd name="connsiteX380" fmla="*/ 16283 w 51323"/>
                <a:gd name="connsiteY380" fmla="*/ 7678 h 51323"/>
                <a:gd name="connsiteX381" fmla="*/ 16129 w 51323"/>
                <a:gd name="connsiteY381" fmla="*/ 7678 h 51323"/>
                <a:gd name="connsiteX382" fmla="*/ 16129 w 51323"/>
                <a:gd name="connsiteY382" fmla="*/ 7678 h 51323"/>
                <a:gd name="connsiteX383" fmla="*/ 16129 w 51323"/>
                <a:gd name="connsiteY383" fmla="*/ 7678 h 51323"/>
                <a:gd name="connsiteX384" fmla="*/ 16129 w 51323"/>
                <a:gd name="connsiteY384" fmla="*/ 7678 h 51323"/>
                <a:gd name="connsiteX385" fmla="*/ 15820 w 51323"/>
                <a:gd name="connsiteY385" fmla="*/ 7867 h 51323"/>
                <a:gd name="connsiteX386" fmla="*/ 16043 w 51323"/>
                <a:gd name="connsiteY386" fmla="*/ 7747 h 51323"/>
                <a:gd name="connsiteX387" fmla="*/ 16043 w 51323"/>
                <a:gd name="connsiteY387" fmla="*/ 7747 h 51323"/>
                <a:gd name="connsiteX388" fmla="*/ 16318 w 51323"/>
                <a:gd name="connsiteY388" fmla="*/ 7644 h 51323"/>
                <a:gd name="connsiteX389" fmla="*/ 16198 w 51323"/>
                <a:gd name="connsiteY389" fmla="*/ 7644 h 51323"/>
                <a:gd name="connsiteX390" fmla="*/ 16747 w 51323"/>
                <a:gd name="connsiteY390" fmla="*/ 7352 h 51323"/>
                <a:gd name="connsiteX391" fmla="*/ 16747 w 51323"/>
                <a:gd name="connsiteY391" fmla="*/ 7352 h 51323"/>
                <a:gd name="connsiteX392" fmla="*/ 16747 w 51323"/>
                <a:gd name="connsiteY392" fmla="*/ 7352 h 51323"/>
                <a:gd name="connsiteX393" fmla="*/ 17400 w 51323"/>
                <a:gd name="connsiteY393" fmla="*/ 7077 h 51323"/>
                <a:gd name="connsiteX394" fmla="*/ 17262 w 51323"/>
                <a:gd name="connsiteY394" fmla="*/ 7077 h 51323"/>
                <a:gd name="connsiteX395" fmla="*/ 17262 w 51323"/>
                <a:gd name="connsiteY395" fmla="*/ 7077 h 51323"/>
                <a:gd name="connsiteX396" fmla="*/ 17520 w 51323"/>
                <a:gd name="connsiteY396" fmla="*/ 6991 h 51323"/>
                <a:gd name="connsiteX397" fmla="*/ 17846 w 51323"/>
                <a:gd name="connsiteY397" fmla="*/ 6768 h 51323"/>
                <a:gd name="connsiteX398" fmla="*/ 17846 w 51323"/>
                <a:gd name="connsiteY398" fmla="*/ 6768 h 51323"/>
                <a:gd name="connsiteX399" fmla="*/ 17846 w 51323"/>
                <a:gd name="connsiteY399" fmla="*/ 6768 h 51323"/>
                <a:gd name="connsiteX400" fmla="*/ 18482 w 51323"/>
                <a:gd name="connsiteY400" fmla="*/ 6476 h 51323"/>
                <a:gd name="connsiteX401" fmla="*/ 18482 w 51323"/>
                <a:gd name="connsiteY401" fmla="*/ 6476 h 51323"/>
                <a:gd name="connsiteX402" fmla="*/ 19066 w 51323"/>
                <a:gd name="connsiteY402" fmla="*/ 6235 h 51323"/>
                <a:gd name="connsiteX403" fmla="*/ 18911 w 51323"/>
                <a:gd name="connsiteY403" fmla="*/ 6321 h 51323"/>
                <a:gd name="connsiteX404" fmla="*/ 19427 w 51323"/>
                <a:gd name="connsiteY404" fmla="*/ 6115 h 51323"/>
                <a:gd name="connsiteX405" fmla="*/ 19238 w 51323"/>
                <a:gd name="connsiteY405" fmla="*/ 6252 h 51323"/>
                <a:gd name="connsiteX406" fmla="*/ 20303 w 51323"/>
                <a:gd name="connsiteY406" fmla="*/ 5909 h 51323"/>
                <a:gd name="connsiteX407" fmla="*/ 21024 w 51323"/>
                <a:gd name="connsiteY407" fmla="*/ 5651 h 51323"/>
                <a:gd name="connsiteX408" fmla="*/ 20303 w 51323"/>
                <a:gd name="connsiteY408" fmla="*/ 6149 h 51323"/>
                <a:gd name="connsiteX409" fmla="*/ 20303 w 51323"/>
                <a:gd name="connsiteY409" fmla="*/ 6149 h 51323"/>
                <a:gd name="connsiteX410" fmla="*/ 20406 w 51323"/>
                <a:gd name="connsiteY410" fmla="*/ 6149 h 51323"/>
                <a:gd name="connsiteX411" fmla="*/ 20492 w 51323"/>
                <a:gd name="connsiteY411" fmla="*/ 6235 h 51323"/>
                <a:gd name="connsiteX412" fmla="*/ 20354 w 51323"/>
                <a:gd name="connsiteY412" fmla="*/ 6235 h 51323"/>
                <a:gd name="connsiteX413" fmla="*/ 20165 w 51323"/>
                <a:gd name="connsiteY413" fmla="*/ 6355 h 51323"/>
                <a:gd name="connsiteX414" fmla="*/ 20337 w 51323"/>
                <a:gd name="connsiteY414" fmla="*/ 6355 h 51323"/>
                <a:gd name="connsiteX415" fmla="*/ 19856 w 51323"/>
                <a:gd name="connsiteY415" fmla="*/ 6716 h 51323"/>
                <a:gd name="connsiteX416" fmla="*/ 20097 w 51323"/>
                <a:gd name="connsiteY416" fmla="*/ 6716 h 51323"/>
                <a:gd name="connsiteX417" fmla="*/ 19667 w 51323"/>
                <a:gd name="connsiteY417" fmla="*/ 6939 h 51323"/>
                <a:gd name="connsiteX418" fmla="*/ 19495 w 51323"/>
                <a:gd name="connsiteY418" fmla="*/ 7145 h 51323"/>
                <a:gd name="connsiteX419" fmla="*/ 19358 w 51323"/>
                <a:gd name="connsiteY419" fmla="*/ 7266 h 51323"/>
                <a:gd name="connsiteX420" fmla="*/ 19358 w 51323"/>
                <a:gd name="connsiteY420" fmla="*/ 7352 h 51323"/>
                <a:gd name="connsiteX421" fmla="*/ 19358 w 51323"/>
                <a:gd name="connsiteY421" fmla="*/ 7523 h 51323"/>
                <a:gd name="connsiteX422" fmla="*/ 19049 w 51323"/>
                <a:gd name="connsiteY422" fmla="*/ 7626 h 51323"/>
                <a:gd name="connsiteX423" fmla="*/ 18860 w 51323"/>
                <a:gd name="connsiteY423" fmla="*/ 7918 h 51323"/>
                <a:gd name="connsiteX424" fmla="*/ 18860 w 51323"/>
                <a:gd name="connsiteY424" fmla="*/ 8039 h 51323"/>
                <a:gd name="connsiteX425" fmla="*/ 18705 w 51323"/>
                <a:gd name="connsiteY425" fmla="*/ 8399 h 51323"/>
                <a:gd name="connsiteX426" fmla="*/ 18551 w 51323"/>
                <a:gd name="connsiteY426" fmla="*/ 8588 h 51323"/>
                <a:gd name="connsiteX427" fmla="*/ 18396 w 51323"/>
                <a:gd name="connsiteY427" fmla="*/ 8829 h 51323"/>
                <a:gd name="connsiteX428" fmla="*/ 18190 w 51323"/>
                <a:gd name="connsiteY428" fmla="*/ 8966 h 51323"/>
                <a:gd name="connsiteX429" fmla="*/ 18190 w 51323"/>
                <a:gd name="connsiteY429" fmla="*/ 8966 h 51323"/>
                <a:gd name="connsiteX430" fmla="*/ 17846 w 51323"/>
                <a:gd name="connsiteY430" fmla="*/ 9155 h 51323"/>
                <a:gd name="connsiteX431" fmla="*/ 18224 w 51323"/>
                <a:gd name="connsiteY431" fmla="*/ 8605 h 51323"/>
                <a:gd name="connsiteX432" fmla="*/ 18224 w 51323"/>
                <a:gd name="connsiteY432" fmla="*/ 8434 h 51323"/>
                <a:gd name="connsiteX433" fmla="*/ 18053 w 51323"/>
                <a:gd name="connsiteY433" fmla="*/ 8434 h 51323"/>
                <a:gd name="connsiteX434" fmla="*/ 17486 w 51323"/>
                <a:gd name="connsiteY434" fmla="*/ 9155 h 51323"/>
                <a:gd name="connsiteX435" fmla="*/ 16747 w 51323"/>
                <a:gd name="connsiteY435" fmla="*/ 9842 h 51323"/>
                <a:gd name="connsiteX436" fmla="*/ 16747 w 51323"/>
                <a:gd name="connsiteY436" fmla="*/ 9396 h 51323"/>
                <a:gd name="connsiteX437" fmla="*/ 16524 w 51323"/>
                <a:gd name="connsiteY437" fmla="*/ 10306 h 51323"/>
                <a:gd name="connsiteX438" fmla="*/ 16799 w 51323"/>
                <a:gd name="connsiteY438" fmla="*/ 9069 h 51323"/>
                <a:gd name="connsiteX439" fmla="*/ 16558 w 51323"/>
                <a:gd name="connsiteY439" fmla="*/ 9069 h 51323"/>
                <a:gd name="connsiteX440" fmla="*/ 16301 w 51323"/>
                <a:gd name="connsiteY440" fmla="*/ 9069 h 51323"/>
                <a:gd name="connsiteX441" fmla="*/ 16850 w 51323"/>
                <a:gd name="connsiteY441" fmla="*/ 8794 h 51323"/>
                <a:gd name="connsiteX442" fmla="*/ 19530 w 51323"/>
                <a:gd name="connsiteY442" fmla="*/ 6733 h 51323"/>
                <a:gd name="connsiteX443" fmla="*/ 18980 w 51323"/>
                <a:gd name="connsiteY443" fmla="*/ 6733 h 51323"/>
                <a:gd name="connsiteX444" fmla="*/ 18980 w 51323"/>
                <a:gd name="connsiteY444" fmla="*/ 6561 h 51323"/>
                <a:gd name="connsiteX445" fmla="*/ 18980 w 51323"/>
                <a:gd name="connsiteY445" fmla="*/ 6373 h 51323"/>
                <a:gd name="connsiteX446" fmla="*/ 19083 w 51323"/>
                <a:gd name="connsiteY446" fmla="*/ 6373 h 51323"/>
                <a:gd name="connsiteX447" fmla="*/ 18929 w 51323"/>
                <a:gd name="connsiteY447" fmla="*/ 6458 h 51323"/>
                <a:gd name="connsiteX448" fmla="*/ 18173 w 51323"/>
                <a:gd name="connsiteY448" fmla="*/ 6871 h 51323"/>
                <a:gd name="connsiteX449" fmla="*/ 18173 w 51323"/>
                <a:gd name="connsiteY449" fmla="*/ 6871 h 51323"/>
                <a:gd name="connsiteX450" fmla="*/ 18293 w 51323"/>
                <a:gd name="connsiteY450" fmla="*/ 6871 h 51323"/>
                <a:gd name="connsiteX451" fmla="*/ 18242 w 51323"/>
                <a:gd name="connsiteY451" fmla="*/ 6871 h 51323"/>
                <a:gd name="connsiteX452" fmla="*/ 18242 w 51323"/>
                <a:gd name="connsiteY452" fmla="*/ 6871 h 51323"/>
                <a:gd name="connsiteX453" fmla="*/ 17898 w 51323"/>
                <a:gd name="connsiteY453" fmla="*/ 7025 h 51323"/>
                <a:gd name="connsiteX454" fmla="*/ 17898 w 51323"/>
                <a:gd name="connsiteY454" fmla="*/ 7025 h 51323"/>
                <a:gd name="connsiteX455" fmla="*/ 17898 w 51323"/>
                <a:gd name="connsiteY455" fmla="*/ 7025 h 51323"/>
                <a:gd name="connsiteX456" fmla="*/ 18001 w 51323"/>
                <a:gd name="connsiteY456" fmla="*/ 7025 h 51323"/>
                <a:gd name="connsiteX457" fmla="*/ 18001 w 51323"/>
                <a:gd name="connsiteY457" fmla="*/ 7025 h 51323"/>
                <a:gd name="connsiteX458" fmla="*/ 18001 w 51323"/>
                <a:gd name="connsiteY458" fmla="*/ 7025 h 51323"/>
                <a:gd name="connsiteX459" fmla="*/ 17829 w 51323"/>
                <a:gd name="connsiteY459" fmla="*/ 7025 h 51323"/>
                <a:gd name="connsiteX460" fmla="*/ 17829 w 51323"/>
                <a:gd name="connsiteY460" fmla="*/ 7025 h 51323"/>
                <a:gd name="connsiteX461" fmla="*/ 17829 w 51323"/>
                <a:gd name="connsiteY461" fmla="*/ 7025 h 51323"/>
                <a:gd name="connsiteX462" fmla="*/ 17177 w 51323"/>
                <a:gd name="connsiteY462" fmla="*/ 7437 h 51323"/>
                <a:gd name="connsiteX463" fmla="*/ 17434 w 51323"/>
                <a:gd name="connsiteY463" fmla="*/ 7334 h 51323"/>
                <a:gd name="connsiteX464" fmla="*/ 17434 w 51323"/>
                <a:gd name="connsiteY464" fmla="*/ 7334 h 51323"/>
                <a:gd name="connsiteX465" fmla="*/ 17864 w 51323"/>
                <a:gd name="connsiteY465" fmla="*/ 7111 h 51323"/>
                <a:gd name="connsiteX466" fmla="*/ 17331 w 51323"/>
                <a:gd name="connsiteY466" fmla="*/ 7489 h 51323"/>
                <a:gd name="connsiteX467" fmla="*/ 17331 w 51323"/>
                <a:gd name="connsiteY467" fmla="*/ 7489 h 51323"/>
                <a:gd name="connsiteX468" fmla="*/ 16644 w 51323"/>
                <a:gd name="connsiteY468" fmla="*/ 7970 h 51323"/>
                <a:gd name="connsiteX469" fmla="*/ 16799 w 51323"/>
                <a:gd name="connsiteY469" fmla="*/ 7884 h 51323"/>
                <a:gd name="connsiteX470" fmla="*/ 16799 w 51323"/>
                <a:gd name="connsiteY470" fmla="*/ 7884 h 51323"/>
                <a:gd name="connsiteX471" fmla="*/ 17675 w 51323"/>
                <a:gd name="connsiteY471" fmla="*/ 7437 h 51323"/>
                <a:gd name="connsiteX472" fmla="*/ 17675 w 51323"/>
                <a:gd name="connsiteY472" fmla="*/ 7437 h 51323"/>
                <a:gd name="connsiteX473" fmla="*/ 17675 w 51323"/>
                <a:gd name="connsiteY473" fmla="*/ 7437 h 51323"/>
                <a:gd name="connsiteX474" fmla="*/ 17812 w 51323"/>
                <a:gd name="connsiteY474" fmla="*/ 7352 h 51323"/>
                <a:gd name="connsiteX475" fmla="*/ 17812 w 51323"/>
                <a:gd name="connsiteY475" fmla="*/ 7352 h 51323"/>
                <a:gd name="connsiteX476" fmla="*/ 17932 w 51323"/>
                <a:gd name="connsiteY476" fmla="*/ 7352 h 51323"/>
                <a:gd name="connsiteX477" fmla="*/ 17932 w 51323"/>
                <a:gd name="connsiteY477" fmla="*/ 7352 h 51323"/>
                <a:gd name="connsiteX478" fmla="*/ 18362 w 51323"/>
                <a:gd name="connsiteY478" fmla="*/ 7111 h 51323"/>
                <a:gd name="connsiteX479" fmla="*/ 18362 w 51323"/>
                <a:gd name="connsiteY479" fmla="*/ 7266 h 51323"/>
                <a:gd name="connsiteX480" fmla="*/ 18362 w 51323"/>
                <a:gd name="connsiteY480" fmla="*/ 7266 h 51323"/>
                <a:gd name="connsiteX481" fmla="*/ 18242 w 51323"/>
                <a:gd name="connsiteY481" fmla="*/ 7386 h 51323"/>
                <a:gd name="connsiteX482" fmla="*/ 18104 w 51323"/>
                <a:gd name="connsiteY482" fmla="*/ 7489 h 51323"/>
                <a:gd name="connsiteX483" fmla="*/ 17898 w 51323"/>
                <a:gd name="connsiteY483" fmla="*/ 7626 h 51323"/>
                <a:gd name="connsiteX484" fmla="*/ 17898 w 51323"/>
                <a:gd name="connsiteY484" fmla="*/ 7626 h 51323"/>
                <a:gd name="connsiteX485" fmla="*/ 17898 w 51323"/>
                <a:gd name="connsiteY485" fmla="*/ 7626 h 51323"/>
                <a:gd name="connsiteX486" fmla="*/ 17692 w 51323"/>
                <a:gd name="connsiteY486" fmla="*/ 7626 h 51323"/>
                <a:gd name="connsiteX487" fmla="*/ 17692 w 51323"/>
                <a:gd name="connsiteY487" fmla="*/ 7626 h 51323"/>
                <a:gd name="connsiteX488" fmla="*/ 17537 w 51323"/>
                <a:gd name="connsiteY488" fmla="*/ 7729 h 51323"/>
                <a:gd name="connsiteX489" fmla="*/ 17537 w 51323"/>
                <a:gd name="connsiteY489" fmla="*/ 7729 h 51323"/>
                <a:gd name="connsiteX490" fmla="*/ 17537 w 51323"/>
                <a:gd name="connsiteY490" fmla="*/ 7729 h 51323"/>
                <a:gd name="connsiteX491" fmla="*/ 16438 w 51323"/>
                <a:gd name="connsiteY491" fmla="*/ 8296 h 51323"/>
                <a:gd name="connsiteX492" fmla="*/ 16524 w 51323"/>
                <a:gd name="connsiteY492" fmla="*/ 8245 h 51323"/>
                <a:gd name="connsiteX493" fmla="*/ 16524 w 51323"/>
                <a:gd name="connsiteY493" fmla="*/ 8245 h 51323"/>
                <a:gd name="connsiteX494" fmla="*/ 16661 w 51323"/>
                <a:gd name="connsiteY494" fmla="*/ 8125 h 51323"/>
                <a:gd name="connsiteX495" fmla="*/ 16661 w 51323"/>
                <a:gd name="connsiteY495" fmla="*/ 8125 h 51323"/>
                <a:gd name="connsiteX496" fmla="*/ 16661 w 51323"/>
                <a:gd name="connsiteY496" fmla="*/ 8125 h 51323"/>
                <a:gd name="connsiteX497" fmla="*/ 16301 w 51323"/>
                <a:gd name="connsiteY497" fmla="*/ 8451 h 51323"/>
                <a:gd name="connsiteX498" fmla="*/ 16404 w 51323"/>
                <a:gd name="connsiteY498" fmla="*/ 8296 h 51323"/>
                <a:gd name="connsiteX499" fmla="*/ 16283 w 51323"/>
                <a:gd name="connsiteY499" fmla="*/ 8399 h 51323"/>
                <a:gd name="connsiteX500" fmla="*/ 16283 w 51323"/>
                <a:gd name="connsiteY500" fmla="*/ 8399 h 51323"/>
                <a:gd name="connsiteX501" fmla="*/ 16283 w 51323"/>
                <a:gd name="connsiteY501" fmla="*/ 8399 h 51323"/>
                <a:gd name="connsiteX502" fmla="*/ 16438 w 51323"/>
                <a:gd name="connsiteY502" fmla="*/ 8279 h 51323"/>
                <a:gd name="connsiteX503" fmla="*/ 16438 w 51323"/>
                <a:gd name="connsiteY503" fmla="*/ 8279 h 51323"/>
                <a:gd name="connsiteX504" fmla="*/ 16438 w 51323"/>
                <a:gd name="connsiteY504" fmla="*/ 8279 h 51323"/>
                <a:gd name="connsiteX505" fmla="*/ 16438 w 51323"/>
                <a:gd name="connsiteY505" fmla="*/ 8279 h 51323"/>
                <a:gd name="connsiteX506" fmla="*/ 15837 w 51323"/>
                <a:gd name="connsiteY506" fmla="*/ 8657 h 51323"/>
                <a:gd name="connsiteX507" fmla="*/ 15837 w 51323"/>
                <a:gd name="connsiteY507" fmla="*/ 8657 h 51323"/>
                <a:gd name="connsiteX508" fmla="*/ 15837 w 51323"/>
                <a:gd name="connsiteY508" fmla="*/ 8365 h 51323"/>
                <a:gd name="connsiteX509" fmla="*/ 15287 w 51323"/>
                <a:gd name="connsiteY509" fmla="*/ 8932 h 51323"/>
                <a:gd name="connsiteX510" fmla="*/ 15287 w 51323"/>
                <a:gd name="connsiteY510" fmla="*/ 8932 h 51323"/>
                <a:gd name="connsiteX511" fmla="*/ 14841 w 51323"/>
                <a:gd name="connsiteY511" fmla="*/ 9138 h 51323"/>
                <a:gd name="connsiteX512" fmla="*/ 14841 w 51323"/>
                <a:gd name="connsiteY512" fmla="*/ 9138 h 51323"/>
                <a:gd name="connsiteX513" fmla="*/ 14841 w 51323"/>
                <a:gd name="connsiteY513" fmla="*/ 9138 h 51323"/>
                <a:gd name="connsiteX514" fmla="*/ 14841 w 51323"/>
                <a:gd name="connsiteY514" fmla="*/ 9138 h 51323"/>
                <a:gd name="connsiteX515" fmla="*/ 14961 w 51323"/>
                <a:gd name="connsiteY515" fmla="*/ 9035 h 51323"/>
                <a:gd name="connsiteX516" fmla="*/ 14806 w 51323"/>
                <a:gd name="connsiteY516" fmla="*/ 9121 h 51323"/>
                <a:gd name="connsiteX517" fmla="*/ 14909 w 51323"/>
                <a:gd name="connsiteY517" fmla="*/ 9018 h 51323"/>
                <a:gd name="connsiteX518" fmla="*/ 14686 w 51323"/>
                <a:gd name="connsiteY518" fmla="*/ 9138 h 51323"/>
                <a:gd name="connsiteX519" fmla="*/ 14531 w 51323"/>
                <a:gd name="connsiteY519" fmla="*/ 9258 h 51323"/>
                <a:gd name="connsiteX520" fmla="*/ 14789 w 51323"/>
                <a:gd name="connsiteY520" fmla="*/ 8846 h 51323"/>
                <a:gd name="connsiteX521" fmla="*/ 14789 w 51323"/>
                <a:gd name="connsiteY521" fmla="*/ 8846 h 51323"/>
                <a:gd name="connsiteX522" fmla="*/ 14789 w 51323"/>
                <a:gd name="connsiteY522" fmla="*/ 8846 h 51323"/>
                <a:gd name="connsiteX523" fmla="*/ 14703 w 51323"/>
                <a:gd name="connsiteY523" fmla="*/ 8949 h 51323"/>
                <a:gd name="connsiteX524" fmla="*/ 14549 w 51323"/>
                <a:gd name="connsiteY524" fmla="*/ 9121 h 51323"/>
                <a:gd name="connsiteX525" fmla="*/ 14686 w 51323"/>
                <a:gd name="connsiteY525" fmla="*/ 9121 h 51323"/>
                <a:gd name="connsiteX526" fmla="*/ 14411 w 51323"/>
                <a:gd name="connsiteY526" fmla="*/ 9121 h 51323"/>
                <a:gd name="connsiteX527" fmla="*/ 14085 w 51323"/>
                <a:gd name="connsiteY527" fmla="*/ 9447 h 51323"/>
                <a:gd name="connsiteX528" fmla="*/ 14085 w 51323"/>
                <a:gd name="connsiteY528" fmla="*/ 9447 h 51323"/>
                <a:gd name="connsiteX529" fmla="*/ 14085 w 51323"/>
                <a:gd name="connsiteY529" fmla="*/ 9447 h 51323"/>
                <a:gd name="connsiteX530" fmla="*/ 14085 w 51323"/>
                <a:gd name="connsiteY530" fmla="*/ 9447 h 51323"/>
                <a:gd name="connsiteX531" fmla="*/ 13930 w 51323"/>
                <a:gd name="connsiteY531" fmla="*/ 9585 h 51323"/>
                <a:gd name="connsiteX532" fmla="*/ 13930 w 51323"/>
                <a:gd name="connsiteY532" fmla="*/ 9585 h 51323"/>
                <a:gd name="connsiteX533" fmla="*/ 13776 w 51323"/>
                <a:gd name="connsiteY533" fmla="*/ 9585 h 51323"/>
                <a:gd name="connsiteX534" fmla="*/ 13123 w 51323"/>
                <a:gd name="connsiteY534" fmla="*/ 9945 h 51323"/>
                <a:gd name="connsiteX535" fmla="*/ 13123 w 51323"/>
                <a:gd name="connsiteY535" fmla="*/ 9945 h 51323"/>
                <a:gd name="connsiteX536" fmla="*/ 11903 w 51323"/>
                <a:gd name="connsiteY536" fmla="*/ 10907 h 51323"/>
                <a:gd name="connsiteX537" fmla="*/ 11525 w 51323"/>
                <a:gd name="connsiteY537" fmla="*/ 11405 h 51323"/>
                <a:gd name="connsiteX538" fmla="*/ 11525 w 51323"/>
                <a:gd name="connsiteY538" fmla="*/ 12092 h 51323"/>
                <a:gd name="connsiteX539" fmla="*/ 11525 w 51323"/>
                <a:gd name="connsiteY539" fmla="*/ 12092 h 51323"/>
                <a:gd name="connsiteX540" fmla="*/ 11405 w 51323"/>
                <a:gd name="connsiteY540" fmla="*/ 12556 h 51323"/>
                <a:gd name="connsiteX541" fmla="*/ 11629 w 51323"/>
                <a:gd name="connsiteY541" fmla="*/ 12693 h 51323"/>
                <a:gd name="connsiteX542" fmla="*/ 11629 w 51323"/>
                <a:gd name="connsiteY542" fmla="*/ 12693 h 51323"/>
                <a:gd name="connsiteX543" fmla="*/ 10392 w 51323"/>
                <a:gd name="connsiteY543" fmla="*/ 14325 h 51323"/>
                <a:gd name="connsiteX544" fmla="*/ 10753 w 51323"/>
                <a:gd name="connsiteY544" fmla="*/ 14188 h 51323"/>
                <a:gd name="connsiteX545" fmla="*/ 10649 w 51323"/>
                <a:gd name="connsiteY545" fmla="*/ 14514 h 51323"/>
                <a:gd name="connsiteX546" fmla="*/ 12608 w 51323"/>
                <a:gd name="connsiteY546" fmla="*/ 12590 h 51323"/>
                <a:gd name="connsiteX547" fmla="*/ 13999 w 51323"/>
                <a:gd name="connsiteY547" fmla="*/ 11148 h 51323"/>
                <a:gd name="connsiteX548" fmla="*/ 13999 w 51323"/>
                <a:gd name="connsiteY548" fmla="*/ 11148 h 51323"/>
                <a:gd name="connsiteX549" fmla="*/ 14205 w 51323"/>
                <a:gd name="connsiteY549" fmla="*/ 10976 h 51323"/>
                <a:gd name="connsiteX550" fmla="*/ 14325 w 51323"/>
                <a:gd name="connsiteY550" fmla="*/ 10856 h 51323"/>
                <a:gd name="connsiteX551" fmla="*/ 15081 w 51323"/>
                <a:gd name="connsiteY551" fmla="*/ 10409 h 51323"/>
                <a:gd name="connsiteX552" fmla="*/ 15201 w 51323"/>
                <a:gd name="connsiteY552" fmla="*/ 10409 h 51323"/>
                <a:gd name="connsiteX553" fmla="*/ 15201 w 51323"/>
                <a:gd name="connsiteY553" fmla="*/ 10409 h 51323"/>
                <a:gd name="connsiteX554" fmla="*/ 15304 w 51323"/>
                <a:gd name="connsiteY554" fmla="*/ 10564 h 51323"/>
                <a:gd name="connsiteX555" fmla="*/ 15167 w 51323"/>
                <a:gd name="connsiteY555" fmla="*/ 10701 h 51323"/>
                <a:gd name="connsiteX556" fmla="*/ 15167 w 51323"/>
                <a:gd name="connsiteY556" fmla="*/ 10701 h 51323"/>
                <a:gd name="connsiteX557" fmla="*/ 15167 w 51323"/>
                <a:gd name="connsiteY557" fmla="*/ 10856 h 51323"/>
                <a:gd name="connsiteX558" fmla="*/ 15167 w 51323"/>
                <a:gd name="connsiteY558" fmla="*/ 10856 h 51323"/>
                <a:gd name="connsiteX559" fmla="*/ 15167 w 51323"/>
                <a:gd name="connsiteY559" fmla="*/ 10941 h 51323"/>
                <a:gd name="connsiteX560" fmla="*/ 15167 w 51323"/>
                <a:gd name="connsiteY560" fmla="*/ 10941 h 51323"/>
                <a:gd name="connsiteX561" fmla="*/ 15047 w 51323"/>
                <a:gd name="connsiteY561" fmla="*/ 11079 h 51323"/>
                <a:gd name="connsiteX562" fmla="*/ 15047 w 51323"/>
                <a:gd name="connsiteY562" fmla="*/ 11079 h 51323"/>
                <a:gd name="connsiteX563" fmla="*/ 15047 w 51323"/>
                <a:gd name="connsiteY563" fmla="*/ 11079 h 51323"/>
                <a:gd name="connsiteX564" fmla="*/ 15047 w 51323"/>
                <a:gd name="connsiteY564" fmla="*/ 11079 h 51323"/>
                <a:gd name="connsiteX565" fmla="*/ 15047 w 51323"/>
                <a:gd name="connsiteY565" fmla="*/ 11079 h 51323"/>
                <a:gd name="connsiteX566" fmla="*/ 15047 w 51323"/>
                <a:gd name="connsiteY566" fmla="*/ 11079 h 51323"/>
                <a:gd name="connsiteX567" fmla="*/ 15047 w 51323"/>
                <a:gd name="connsiteY567" fmla="*/ 11216 h 51323"/>
                <a:gd name="connsiteX568" fmla="*/ 15201 w 51323"/>
                <a:gd name="connsiteY568" fmla="*/ 11130 h 51323"/>
                <a:gd name="connsiteX569" fmla="*/ 14789 w 51323"/>
                <a:gd name="connsiteY569" fmla="*/ 11508 h 51323"/>
                <a:gd name="connsiteX570" fmla="*/ 14789 w 51323"/>
                <a:gd name="connsiteY570" fmla="*/ 11508 h 51323"/>
                <a:gd name="connsiteX571" fmla="*/ 14583 w 51323"/>
                <a:gd name="connsiteY571" fmla="*/ 11508 h 51323"/>
                <a:gd name="connsiteX572" fmla="*/ 14325 w 51323"/>
                <a:gd name="connsiteY572" fmla="*/ 11989 h 51323"/>
                <a:gd name="connsiteX573" fmla="*/ 14325 w 51323"/>
                <a:gd name="connsiteY573" fmla="*/ 11989 h 51323"/>
                <a:gd name="connsiteX574" fmla="*/ 14016 w 51323"/>
                <a:gd name="connsiteY574" fmla="*/ 12367 h 51323"/>
                <a:gd name="connsiteX575" fmla="*/ 14016 w 51323"/>
                <a:gd name="connsiteY575" fmla="*/ 12367 h 51323"/>
                <a:gd name="connsiteX576" fmla="*/ 14308 w 51323"/>
                <a:gd name="connsiteY576" fmla="*/ 12230 h 51323"/>
                <a:gd name="connsiteX577" fmla="*/ 14549 w 51323"/>
                <a:gd name="connsiteY577" fmla="*/ 12075 h 51323"/>
                <a:gd name="connsiteX578" fmla="*/ 14549 w 51323"/>
                <a:gd name="connsiteY578" fmla="*/ 12247 h 51323"/>
                <a:gd name="connsiteX579" fmla="*/ 14995 w 51323"/>
                <a:gd name="connsiteY579" fmla="*/ 11921 h 51323"/>
                <a:gd name="connsiteX580" fmla="*/ 14995 w 51323"/>
                <a:gd name="connsiteY580" fmla="*/ 11921 h 51323"/>
                <a:gd name="connsiteX581" fmla="*/ 15133 w 51323"/>
                <a:gd name="connsiteY581" fmla="*/ 11817 h 51323"/>
                <a:gd name="connsiteX582" fmla="*/ 15133 w 51323"/>
                <a:gd name="connsiteY582" fmla="*/ 11817 h 51323"/>
                <a:gd name="connsiteX583" fmla="*/ 15442 w 51323"/>
                <a:gd name="connsiteY583" fmla="*/ 11577 h 51323"/>
                <a:gd name="connsiteX584" fmla="*/ 15442 w 51323"/>
                <a:gd name="connsiteY584" fmla="*/ 11577 h 51323"/>
                <a:gd name="connsiteX585" fmla="*/ 15322 w 51323"/>
                <a:gd name="connsiteY585" fmla="*/ 11697 h 51323"/>
                <a:gd name="connsiteX586" fmla="*/ 15322 w 51323"/>
                <a:gd name="connsiteY586" fmla="*/ 11783 h 51323"/>
                <a:gd name="connsiteX587" fmla="*/ 15322 w 51323"/>
                <a:gd name="connsiteY587" fmla="*/ 11783 h 51323"/>
                <a:gd name="connsiteX588" fmla="*/ 15150 w 51323"/>
                <a:gd name="connsiteY588" fmla="*/ 12006 h 51323"/>
                <a:gd name="connsiteX589" fmla="*/ 15150 w 51323"/>
                <a:gd name="connsiteY589" fmla="*/ 12006 h 51323"/>
                <a:gd name="connsiteX590" fmla="*/ 15150 w 51323"/>
                <a:gd name="connsiteY590" fmla="*/ 12144 h 51323"/>
                <a:gd name="connsiteX591" fmla="*/ 15150 w 51323"/>
                <a:gd name="connsiteY591" fmla="*/ 12247 h 51323"/>
                <a:gd name="connsiteX592" fmla="*/ 14978 w 51323"/>
                <a:gd name="connsiteY592" fmla="*/ 12247 h 51323"/>
                <a:gd name="connsiteX593" fmla="*/ 14978 w 51323"/>
                <a:gd name="connsiteY593" fmla="*/ 12350 h 51323"/>
                <a:gd name="connsiteX594" fmla="*/ 15150 w 51323"/>
                <a:gd name="connsiteY594" fmla="*/ 12350 h 51323"/>
                <a:gd name="connsiteX595" fmla="*/ 14892 w 51323"/>
                <a:gd name="connsiteY595" fmla="*/ 12505 h 51323"/>
                <a:gd name="connsiteX596" fmla="*/ 14892 w 51323"/>
                <a:gd name="connsiteY596" fmla="*/ 12608 h 51323"/>
                <a:gd name="connsiteX597" fmla="*/ 14995 w 51323"/>
                <a:gd name="connsiteY597" fmla="*/ 12608 h 51323"/>
                <a:gd name="connsiteX598" fmla="*/ 14889 w 51323"/>
                <a:gd name="connsiteY598" fmla="*/ 12770 h 51323"/>
                <a:gd name="connsiteX599" fmla="*/ 14806 w 51323"/>
                <a:gd name="connsiteY599" fmla="*/ 12762 h 51323"/>
                <a:gd name="connsiteX600" fmla="*/ 14806 w 51323"/>
                <a:gd name="connsiteY600" fmla="*/ 12917 h 51323"/>
                <a:gd name="connsiteX601" fmla="*/ 14566 w 51323"/>
                <a:gd name="connsiteY601" fmla="*/ 13089 h 51323"/>
                <a:gd name="connsiteX602" fmla="*/ 14411 w 51323"/>
                <a:gd name="connsiteY602" fmla="*/ 13312 h 51323"/>
                <a:gd name="connsiteX603" fmla="*/ 14531 w 51323"/>
                <a:gd name="connsiteY603" fmla="*/ 13415 h 51323"/>
                <a:gd name="connsiteX604" fmla="*/ 14531 w 51323"/>
                <a:gd name="connsiteY604" fmla="*/ 13501 h 51323"/>
                <a:gd name="connsiteX605" fmla="*/ 14531 w 51323"/>
                <a:gd name="connsiteY605" fmla="*/ 13621 h 51323"/>
                <a:gd name="connsiteX606" fmla="*/ 14634 w 51323"/>
                <a:gd name="connsiteY606" fmla="*/ 13621 h 51323"/>
                <a:gd name="connsiteX607" fmla="*/ 14325 w 51323"/>
                <a:gd name="connsiteY607" fmla="*/ 13844 h 51323"/>
                <a:gd name="connsiteX608" fmla="*/ 14549 w 51323"/>
                <a:gd name="connsiteY608" fmla="*/ 13844 h 51323"/>
                <a:gd name="connsiteX609" fmla="*/ 14549 w 51323"/>
                <a:gd name="connsiteY609" fmla="*/ 13844 h 51323"/>
                <a:gd name="connsiteX610" fmla="*/ 14394 w 51323"/>
                <a:gd name="connsiteY610" fmla="*/ 13999 h 51323"/>
                <a:gd name="connsiteX611" fmla="*/ 14549 w 51323"/>
                <a:gd name="connsiteY611" fmla="*/ 13999 h 51323"/>
                <a:gd name="connsiteX612" fmla="*/ 14549 w 51323"/>
                <a:gd name="connsiteY612" fmla="*/ 13999 h 51323"/>
                <a:gd name="connsiteX613" fmla="*/ 14446 w 51323"/>
                <a:gd name="connsiteY613" fmla="*/ 14153 h 51323"/>
                <a:gd name="connsiteX614" fmla="*/ 14549 w 51323"/>
                <a:gd name="connsiteY614" fmla="*/ 14153 h 51323"/>
                <a:gd name="connsiteX615" fmla="*/ 14119 w 51323"/>
                <a:gd name="connsiteY615" fmla="*/ 14360 h 51323"/>
                <a:gd name="connsiteX616" fmla="*/ 13896 w 51323"/>
                <a:gd name="connsiteY616" fmla="*/ 14497 h 51323"/>
                <a:gd name="connsiteX617" fmla="*/ 13896 w 51323"/>
                <a:gd name="connsiteY617" fmla="*/ 14308 h 51323"/>
                <a:gd name="connsiteX618" fmla="*/ 13793 w 51323"/>
                <a:gd name="connsiteY618" fmla="*/ 14634 h 51323"/>
                <a:gd name="connsiteX619" fmla="*/ 14428 w 51323"/>
                <a:gd name="connsiteY619" fmla="*/ 14411 h 51323"/>
                <a:gd name="connsiteX620" fmla="*/ 14428 w 51323"/>
                <a:gd name="connsiteY620" fmla="*/ 14617 h 51323"/>
                <a:gd name="connsiteX621" fmla="*/ 14428 w 51323"/>
                <a:gd name="connsiteY621" fmla="*/ 14617 h 51323"/>
                <a:gd name="connsiteX622" fmla="*/ 14566 w 51323"/>
                <a:gd name="connsiteY622" fmla="*/ 14617 h 51323"/>
                <a:gd name="connsiteX623" fmla="*/ 14652 w 51323"/>
                <a:gd name="connsiteY623" fmla="*/ 14617 h 51323"/>
                <a:gd name="connsiteX624" fmla="*/ 14497 w 51323"/>
                <a:gd name="connsiteY624" fmla="*/ 14772 h 51323"/>
                <a:gd name="connsiteX625" fmla="*/ 14360 w 51323"/>
                <a:gd name="connsiteY625" fmla="*/ 14875 h 51323"/>
                <a:gd name="connsiteX626" fmla="*/ 14360 w 51323"/>
                <a:gd name="connsiteY626" fmla="*/ 15012 h 51323"/>
                <a:gd name="connsiteX627" fmla="*/ 13844 w 51323"/>
                <a:gd name="connsiteY627" fmla="*/ 15287 h 51323"/>
                <a:gd name="connsiteX628" fmla="*/ 13844 w 51323"/>
                <a:gd name="connsiteY628" fmla="*/ 15287 h 51323"/>
                <a:gd name="connsiteX629" fmla="*/ 12590 w 51323"/>
                <a:gd name="connsiteY629" fmla="*/ 15407 h 51323"/>
                <a:gd name="connsiteX630" fmla="*/ 12247 w 51323"/>
                <a:gd name="connsiteY630" fmla="*/ 15253 h 51323"/>
                <a:gd name="connsiteX631" fmla="*/ 10426 w 51323"/>
                <a:gd name="connsiteY631" fmla="*/ 16369 h 51323"/>
                <a:gd name="connsiteX632" fmla="*/ 11749 w 51323"/>
                <a:gd name="connsiteY632" fmla="*/ 16369 h 51323"/>
                <a:gd name="connsiteX633" fmla="*/ 11577 w 51323"/>
                <a:gd name="connsiteY633" fmla="*/ 16507 h 51323"/>
                <a:gd name="connsiteX634" fmla="*/ 11577 w 51323"/>
                <a:gd name="connsiteY634" fmla="*/ 16936 h 51323"/>
                <a:gd name="connsiteX635" fmla="*/ 11835 w 51323"/>
                <a:gd name="connsiteY635" fmla="*/ 17125 h 51323"/>
                <a:gd name="connsiteX636" fmla="*/ 11835 w 51323"/>
                <a:gd name="connsiteY636" fmla="*/ 17245 h 51323"/>
                <a:gd name="connsiteX637" fmla="*/ 11251 w 51323"/>
                <a:gd name="connsiteY637" fmla="*/ 17365 h 51323"/>
                <a:gd name="connsiteX638" fmla="*/ 10770 w 51323"/>
                <a:gd name="connsiteY638" fmla="*/ 17743 h 51323"/>
                <a:gd name="connsiteX639" fmla="*/ 10770 w 51323"/>
                <a:gd name="connsiteY639" fmla="*/ 17743 h 51323"/>
                <a:gd name="connsiteX640" fmla="*/ 10770 w 51323"/>
                <a:gd name="connsiteY640" fmla="*/ 17640 h 51323"/>
                <a:gd name="connsiteX641" fmla="*/ 11371 w 51323"/>
                <a:gd name="connsiteY641" fmla="*/ 17280 h 51323"/>
                <a:gd name="connsiteX642" fmla="*/ 11543 w 51323"/>
                <a:gd name="connsiteY642" fmla="*/ 17194 h 51323"/>
                <a:gd name="connsiteX643" fmla="*/ 11543 w 51323"/>
                <a:gd name="connsiteY643" fmla="*/ 16970 h 51323"/>
                <a:gd name="connsiteX644" fmla="*/ 11543 w 51323"/>
                <a:gd name="connsiteY644" fmla="*/ 16970 h 51323"/>
                <a:gd name="connsiteX645" fmla="*/ 11543 w 51323"/>
                <a:gd name="connsiteY645" fmla="*/ 16970 h 51323"/>
                <a:gd name="connsiteX646" fmla="*/ 11233 w 51323"/>
                <a:gd name="connsiteY646" fmla="*/ 16970 h 51323"/>
                <a:gd name="connsiteX647" fmla="*/ 10924 w 51323"/>
                <a:gd name="connsiteY647" fmla="*/ 16970 h 51323"/>
                <a:gd name="connsiteX648" fmla="*/ 10924 w 51323"/>
                <a:gd name="connsiteY648" fmla="*/ 17159 h 51323"/>
                <a:gd name="connsiteX649" fmla="*/ 10924 w 51323"/>
                <a:gd name="connsiteY649" fmla="*/ 17159 h 51323"/>
                <a:gd name="connsiteX650" fmla="*/ 10667 w 51323"/>
                <a:gd name="connsiteY650" fmla="*/ 17159 h 51323"/>
                <a:gd name="connsiteX651" fmla="*/ 10667 w 51323"/>
                <a:gd name="connsiteY651" fmla="*/ 17159 h 51323"/>
                <a:gd name="connsiteX652" fmla="*/ 10478 w 51323"/>
                <a:gd name="connsiteY652" fmla="*/ 17331 h 51323"/>
                <a:gd name="connsiteX653" fmla="*/ 10478 w 51323"/>
                <a:gd name="connsiteY653" fmla="*/ 17331 h 51323"/>
                <a:gd name="connsiteX654" fmla="*/ 10478 w 51323"/>
                <a:gd name="connsiteY654" fmla="*/ 17331 h 51323"/>
                <a:gd name="connsiteX655" fmla="*/ 10478 w 51323"/>
                <a:gd name="connsiteY655" fmla="*/ 17331 h 51323"/>
                <a:gd name="connsiteX656" fmla="*/ 10083 w 51323"/>
                <a:gd name="connsiteY656" fmla="*/ 18001 h 51323"/>
                <a:gd name="connsiteX657" fmla="*/ 9911 w 51323"/>
                <a:gd name="connsiteY657" fmla="*/ 18087 h 51323"/>
                <a:gd name="connsiteX658" fmla="*/ 9808 w 51323"/>
                <a:gd name="connsiteY658" fmla="*/ 18087 h 51323"/>
                <a:gd name="connsiteX659" fmla="*/ 8743 w 51323"/>
                <a:gd name="connsiteY659" fmla="*/ 18980 h 51323"/>
                <a:gd name="connsiteX660" fmla="*/ 8743 w 51323"/>
                <a:gd name="connsiteY660" fmla="*/ 18980 h 51323"/>
                <a:gd name="connsiteX661" fmla="*/ 8743 w 51323"/>
                <a:gd name="connsiteY661" fmla="*/ 18980 h 51323"/>
                <a:gd name="connsiteX662" fmla="*/ 8743 w 51323"/>
                <a:gd name="connsiteY662" fmla="*/ 18740 h 51323"/>
                <a:gd name="connsiteX663" fmla="*/ 8365 w 51323"/>
                <a:gd name="connsiteY663" fmla="*/ 19495 h 51323"/>
                <a:gd name="connsiteX664" fmla="*/ 8365 w 51323"/>
                <a:gd name="connsiteY664" fmla="*/ 19495 h 51323"/>
                <a:gd name="connsiteX665" fmla="*/ 8262 w 51323"/>
                <a:gd name="connsiteY665" fmla="*/ 19650 h 51323"/>
                <a:gd name="connsiteX666" fmla="*/ 8434 w 51323"/>
                <a:gd name="connsiteY666" fmla="*/ 19341 h 51323"/>
                <a:gd name="connsiteX667" fmla="*/ 8434 w 51323"/>
                <a:gd name="connsiteY667" fmla="*/ 19221 h 51323"/>
                <a:gd name="connsiteX668" fmla="*/ 8434 w 51323"/>
                <a:gd name="connsiteY668" fmla="*/ 19221 h 51323"/>
                <a:gd name="connsiteX669" fmla="*/ 8674 w 51323"/>
                <a:gd name="connsiteY669" fmla="*/ 18671 h 51323"/>
                <a:gd name="connsiteX670" fmla="*/ 8365 w 51323"/>
                <a:gd name="connsiteY670" fmla="*/ 19221 h 51323"/>
                <a:gd name="connsiteX671" fmla="*/ 8365 w 51323"/>
                <a:gd name="connsiteY671" fmla="*/ 18929 h 51323"/>
                <a:gd name="connsiteX672" fmla="*/ 8365 w 51323"/>
                <a:gd name="connsiteY672" fmla="*/ 19324 h 51323"/>
                <a:gd name="connsiteX673" fmla="*/ 8365 w 51323"/>
                <a:gd name="connsiteY673" fmla="*/ 19530 h 51323"/>
                <a:gd name="connsiteX674" fmla="*/ 8365 w 51323"/>
                <a:gd name="connsiteY674" fmla="*/ 19650 h 51323"/>
                <a:gd name="connsiteX675" fmla="*/ 8365 w 51323"/>
                <a:gd name="connsiteY675" fmla="*/ 19513 h 51323"/>
                <a:gd name="connsiteX676" fmla="*/ 8365 w 51323"/>
                <a:gd name="connsiteY676" fmla="*/ 19856 h 51323"/>
                <a:gd name="connsiteX677" fmla="*/ 8365 w 51323"/>
                <a:gd name="connsiteY677" fmla="*/ 19856 h 51323"/>
                <a:gd name="connsiteX678" fmla="*/ 8210 w 51323"/>
                <a:gd name="connsiteY678" fmla="*/ 19976 h 51323"/>
                <a:gd name="connsiteX679" fmla="*/ 8210 w 51323"/>
                <a:gd name="connsiteY679" fmla="*/ 20097 h 51323"/>
                <a:gd name="connsiteX680" fmla="*/ 8313 w 51323"/>
                <a:gd name="connsiteY680" fmla="*/ 20234 h 51323"/>
                <a:gd name="connsiteX681" fmla="*/ 8313 w 51323"/>
                <a:gd name="connsiteY681" fmla="*/ 20131 h 51323"/>
                <a:gd name="connsiteX682" fmla="*/ 8176 w 51323"/>
                <a:gd name="connsiteY682" fmla="*/ 20354 h 51323"/>
                <a:gd name="connsiteX683" fmla="*/ 8176 w 51323"/>
                <a:gd name="connsiteY683" fmla="*/ 20251 h 51323"/>
                <a:gd name="connsiteX684" fmla="*/ 8176 w 51323"/>
                <a:gd name="connsiteY684" fmla="*/ 20251 h 51323"/>
                <a:gd name="connsiteX685" fmla="*/ 8176 w 51323"/>
                <a:gd name="connsiteY685" fmla="*/ 20389 h 51323"/>
                <a:gd name="connsiteX686" fmla="*/ 8176 w 51323"/>
                <a:gd name="connsiteY686" fmla="*/ 20389 h 51323"/>
                <a:gd name="connsiteX687" fmla="*/ 8176 w 51323"/>
                <a:gd name="connsiteY687" fmla="*/ 20389 h 51323"/>
                <a:gd name="connsiteX688" fmla="*/ 8176 w 51323"/>
                <a:gd name="connsiteY688" fmla="*/ 20389 h 51323"/>
                <a:gd name="connsiteX689" fmla="*/ 6579 w 51323"/>
                <a:gd name="connsiteY689" fmla="*/ 22982 h 51323"/>
                <a:gd name="connsiteX690" fmla="*/ 6579 w 51323"/>
                <a:gd name="connsiteY690" fmla="*/ 22982 h 51323"/>
                <a:gd name="connsiteX691" fmla="*/ 6579 w 51323"/>
                <a:gd name="connsiteY691" fmla="*/ 22982 h 51323"/>
                <a:gd name="connsiteX692" fmla="*/ 6579 w 51323"/>
                <a:gd name="connsiteY692" fmla="*/ 22982 h 51323"/>
                <a:gd name="connsiteX693" fmla="*/ 6579 w 51323"/>
                <a:gd name="connsiteY693" fmla="*/ 22604 h 51323"/>
                <a:gd name="connsiteX694" fmla="*/ 6579 w 51323"/>
                <a:gd name="connsiteY694" fmla="*/ 22707 h 51323"/>
                <a:gd name="connsiteX695" fmla="*/ 6579 w 51323"/>
                <a:gd name="connsiteY695" fmla="*/ 21745 h 51323"/>
                <a:gd name="connsiteX696" fmla="*/ 6579 w 51323"/>
                <a:gd name="connsiteY696" fmla="*/ 21745 h 51323"/>
                <a:gd name="connsiteX697" fmla="*/ 6579 w 51323"/>
                <a:gd name="connsiteY697" fmla="*/ 21745 h 51323"/>
                <a:gd name="connsiteX698" fmla="*/ 6579 w 51323"/>
                <a:gd name="connsiteY698" fmla="*/ 21745 h 51323"/>
                <a:gd name="connsiteX699" fmla="*/ 6579 w 51323"/>
                <a:gd name="connsiteY699" fmla="*/ 21642 h 51323"/>
                <a:gd name="connsiteX700" fmla="*/ 6579 w 51323"/>
                <a:gd name="connsiteY700" fmla="*/ 21522 h 51323"/>
                <a:gd name="connsiteX701" fmla="*/ 6579 w 51323"/>
                <a:gd name="connsiteY701" fmla="*/ 21522 h 51323"/>
                <a:gd name="connsiteX702" fmla="*/ 6579 w 51323"/>
                <a:gd name="connsiteY702" fmla="*/ 21385 h 51323"/>
                <a:gd name="connsiteX703" fmla="*/ 6579 w 51323"/>
                <a:gd name="connsiteY703" fmla="*/ 21385 h 51323"/>
                <a:gd name="connsiteX704" fmla="*/ 6579 w 51323"/>
                <a:gd name="connsiteY704" fmla="*/ 21385 h 51323"/>
                <a:gd name="connsiteX705" fmla="*/ 6579 w 51323"/>
                <a:gd name="connsiteY705" fmla="*/ 21385 h 51323"/>
                <a:gd name="connsiteX706" fmla="*/ 6579 w 51323"/>
                <a:gd name="connsiteY706" fmla="*/ 21230 h 51323"/>
                <a:gd name="connsiteX707" fmla="*/ 6579 w 51323"/>
                <a:gd name="connsiteY707" fmla="*/ 21333 h 51323"/>
                <a:gd name="connsiteX708" fmla="*/ 6373 w 51323"/>
                <a:gd name="connsiteY708" fmla="*/ 21453 h 51323"/>
                <a:gd name="connsiteX709" fmla="*/ 6373 w 51323"/>
                <a:gd name="connsiteY709" fmla="*/ 21453 h 51323"/>
                <a:gd name="connsiteX710" fmla="*/ 6373 w 51323"/>
                <a:gd name="connsiteY710" fmla="*/ 21849 h 51323"/>
                <a:gd name="connsiteX711" fmla="*/ 6373 w 51323"/>
                <a:gd name="connsiteY711" fmla="*/ 21763 h 51323"/>
                <a:gd name="connsiteX712" fmla="*/ 6373 w 51323"/>
                <a:gd name="connsiteY712" fmla="*/ 21660 h 51323"/>
                <a:gd name="connsiteX713" fmla="*/ 6373 w 51323"/>
                <a:gd name="connsiteY713" fmla="*/ 21350 h 51323"/>
                <a:gd name="connsiteX714" fmla="*/ 6373 w 51323"/>
                <a:gd name="connsiteY714" fmla="*/ 21350 h 51323"/>
                <a:gd name="connsiteX715" fmla="*/ 6184 w 51323"/>
                <a:gd name="connsiteY715" fmla="*/ 21350 h 51323"/>
                <a:gd name="connsiteX716" fmla="*/ 6184 w 51323"/>
                <a:gd name="connsiteY716" fmla="*/ 21127 h 51323"/>
                <a:gd name="connsiteX717" fmla="*/ 6184 w 51323"/>
                <a:gd name="connsiteY717" fmla="*/ 21127 h 51323"/>
                <a:gd name="connsiteX718" fmla="*/ 6184 w 51323"/>
                <a:gd name="connsiteY718" fmla="*/ 21385 h 51323"/>
                <a:gd name="connsiteX719" fmla="*/ 6184 w 51323"/>
                <a:gd name="connsiteY719" fmla="*/ 21385 h 51323"/>
                <a:gd name="connsiteX720" fmla="*/ 6184 w 51323"/>
                <a:gd name="connsiteY720" fmla="*/ 21505 h 51323"/>
                <a:gd name="connsiteX721" fmla="*/ 6184 w 51323"/>
                <a:gd name="connsiteY721" fmla="*/ 21505 h 51323"/>
                <a:gd name="connsiteX722" fmla="*/ 6184 w 51323"/>
                <a:gd name="connsiteY722" fmla="*/ 21505 h 51323"/>
                <a:gd name="connsiteX723" fmla="*/ 6184 w 51323"/>
                <a:gd name="connsiteY723" fmla="*/ 21505 h 51323"/>
                <a:gd name="connsiteX724" fmla="*/ 6184 w 51323"/>
                <a:gd name="connsiteY724" fmla="*/ 21505 h 51323"/>
                <a:gd name="connsiteX725" fmla="*/ 6184 w 51323"/>
                <a:gd name="connsiteY725" fmla="*/ 21505 h 51323"/>
                <a:gd name="connsiteX726" fmla="*/ 6184 w 51323"/>
                <a:gd name="connsiteY726" fmla="*/ 21608 h 51323"/>
                <a:gd name="connsiteX727" fmla="*/ 6184 w 51323"/>
                <a:gd name="connsiteY727" fmla="*/ 21608 h 51323"/>
                <a:gd name="connsiteX728" fmla="*/ 5943 w 51323"/>
                <a:gd name="connsiteY728" fmla="*/ 22553 h 51323"/>
                <a:gd name="connsiteX729" fmla="*/ 5943 w 51323"/>
                <a:gd name="connsiteY729" fmla="*/ 22398 h 51323"/>
                <a:gd name="connsiteX730" fmla="*/ 5943 w 51323"/>
                <a:gd name="connsiteY730" fmla="*/ 22621 h 51323"/>
                <a:gd name="connsiteX731" fmla="*/ 5703 w 51323"/>
                <a:gd name="connsiteY731" fmla="*/ 24116 h 51323"/>
                <a:gd name="connsiteX732" fmla="*/ 5703 w 51323"/>
                <a:gd name="connsiteY732" fmla="*/ 25507 h 51323"/>
                <a:gd name="connsiteX733" fmla="*/ 5703 w 51323"/>
                <a:gd name="connsiteY733" fmla="*/ 25507 h 51323"/>
                <a:gd name="connsiteX734" fmla="*/ 5703 w 51323"/>
                <a:gd name="connsiteY734" fmla="*/ 25421 h 51323"/>
                <a:gd name="connsiteX735" fmla="*/ 5703 w 51323"/>
                <a:gd name="connsiteY735" fmla="*/ 25421 h 51323"/>
                <a:gd name="connsiteX736" fmla="*/ 5703 w 51323"/>
                <a:gd name="connsiteY736" fmla="*/ 25421 h 51323"/>
                <a:gd name="connsiteX737" fmla="*/ 5703 w 51323"/>
                <a:gd name="connsiteY737" fmla="*/ 25421 h 51323"/>
                <a:gd name="connsiteX738" fmla="*/ 5703 w 51323"/>
                <a:gd name="connsiteY738" fmla="*/ 25627 h 51323"/>
                <a:gd name="connsiteX739" fmla="*/ 5703 w 51323"/>
                <a:gd name="connsiteY739" fmla="*/ 25627 h 51323"/>
                <a:gd name="connsiteX740" fmla="*/ 5703 w 51323"/>
                <a:gd name="connsiteY740" fmla="*/ 25627 h 51323"/>
                <a:gd name="connsiteX741" fmla="*/ 5703 w 51323"/>
                <a:gd name="connsiteY741" fmla="*/ 25404 h 51323"/>
                <a:gd name="connsiteX742" fmla="*/ 5703 w 51323"/>
                <a:gd name="connsiteY742" fmla="*/ 25404 h 51323"/>
                <a:gd name="connsiteX743" fmla="*/ 5995 w 51323"/>
                <a:gd name="connsiteY743" fmla="*/ 24665 h 51323"/>
                <a:gd name="connsiteX744" fmla="*/ 5995 w 51323"/>
                <a:gd name="connsiteY744" fmla="*/ 24665 h 51323"/>
                <a:gd name="connsiteX745" fmla="*/ 5995 w 51323"/>
                <a:gd name="connsiteY745" fmla="*/ 24665 h 51323"/>
                <a:gd name="connsiteX746" fmla="*/ 5995 w 51323"/>
                <a:gd name="connsiteY746" fmla="*/ 24665 h 51323"/>
                <a:gd name="connsiteX747" fmla="*/ 5857 w 51323"/>
                <a:gd name="connsiteY747" fmla="*/ 25593 h 51323"/>
                <a:gd name="connsiteX748" fmla="*/ 5857 w 51323"/>
                <a:gd name="connsiteY748" fmla="*/ 25919 h 51323"/>
                <a:gd name="connsiteX749" fmla="*/ 5101 w 51323"/>
                <a:gd name="connsiteY749" fmla="*/ 26521 h 51323"/>
                <a:gd name="connsiteX750" fmla="*/ 4500 w 51323"/>
                <a:gd name="connsiteY750" fmla="*/ 25765 h 51323"/>
                <a:gd name="connsiteX751" fmla="*/ 4397 w 51323"/>
                <a:gd name="connsiteY751" fmla="*/ 26658 h 51323"/>
                <a:gd name="connsiteX752" fmla="*/ 4397 w 51323"/>
                <a:gd name="connsiteY752" fmla="*/ 26658 h 51323"/>
                <a:gd name="connsiteX753" fmla="*/ 4397 w 51323"/>
                <a:gd name="connsiteY753" fmla="*/ 26864 h 51323"/>
                <a:gd name="connsiteX754" fmla="*/ 4397 w 51323"/>
                <a:gd name="connsiteY754" fmla="*/ 26864 h 51323"/>
                <a:gd name="connsiteX755" fmla="*/ 4397 w 51323"/>
                <a:gd name="connsiteY755" fmla="*/ 26950 h 51323"/>
                <a:gd name="connsiteX756" fmla="*/ 4586 w 51323"/>
                <a:gd name="connsiteY756" fmla="*/ 26950 h 51323"/>
                <a:gd name="connsiteX757" fmla="*/ 4724 w 51323"/>
                <a:gd name="connsiteY757" fmla="*/ 27190 h 51323"/>
                <a:gd name="connsiteX758" fmla="*/ 4724 w 51323"/>
                <a:gd name="connsiteY758" fmla="*/ 27190 h 51323"/>
                <a:gd name="connsiteX759" fmla="*/ 4724 w 51323"/>
                <a:gd name="connsiteY759" fmla="*/ 27345 h 51323"/>
                <a:gd name="connsiteX760" fmla="*/ 4724 w 51323"/>
                <a:gd name="connsiteY760" fmla="*/ 27448 h 51323"/>
                <a:gd name="connsiteX761" fmla="*/ 4724 w 51323"/>
                <a:gd name="connsiteY761" fmla="*/ 27448 h 51323"/>
                <a:gd name="connsiteX762" fmla="*/ 4724 w 51323"/>
                <a:gd name="connsiteY762" fmla="*/ 28152 h 51323"/>
                <a:gd name="connsiteX763" fmla="*/ 4724 w 51323"/>
                <a:gd name="connsiteY763" fmla="*/ 28152 h 51323"/>
                <a:gd name="connsiteX764" fmla="*/ 4724 w 51323"/>
                <a:gd name="connsiteY764" fmla="*/ 28616 h 51323"/>
                <a:gd name="connsiteX765" fmla="*/ 4724 w 51323"/>
                <a:gd name="connsiteY765" fmla="*/ 28444 h 51323"/>
                <a:gd name="connsiteX766" fmla="*/ 4724 w 51323"/>
                <a:gd name="connsiteY766" fmla="*/ 28805 h 51323"/>
                <a:gd name="connsiteX767" fmla="*/ 4724 w 51323"/>
                <a:gd name="connsiteY767" fmla="*/ 28719 h 51323"/>
                <a:gd name="connsiteX768" fmla="*/ 4724 w 51323"/>
                <a:gd name="connsiteY768" fmla="*/ 29149 h 51323"/>
                <a:gd name="connsiteX769" fmla="*/ 4930 w 51323"/>
                <a:gd name="connsiteY769" fmla="*/ 29733 h 51323"/>
                <a:gd name="connsiteX770" fmla="*/ 5634 w 51323"/>
                <a:gd name="connsiteY770" fmla="*/ 30471 h 51323"/>
                <a:gd name="connsiteX771" fmla="*/ 5960 w 51323"/>
                <a:gd name="connsiteY771" fmla="*/ 29595 h 51323"/>
                <a:gd name="connsiteX772" fmla="*/ 5960 w 51323"/>
                <a:gd name="connsiteY772" fmla="*/ 29475 h 51323"/>
                <a:gd name="connsiteX773" fmla="*/ 6355 w 51323"/>
                <a:gd name="connsiteY773" fmla="*/ 29234 h 51323"/>
                <a:gd name="connsiteX774" fmla="*/ 6355 w 51323"/>
                <a:gd name="connsiteY774" fmla="*/ 30145 h 51323"/>
                <a:gd name="connsiteX775" fmla="*/ 6665 w 51323"/>
                <a:gd name="connsiteY775" fmla="*/ 29664 h 51323"/>
                <a:gd name="connsiteX776" fmla="*/ 6665 w 51323"/>
                <a:gd name="connsiteY776" fmla="*/ 29441 h 51323"/>
                <a:gd name="connsiteX777" fmla="*/ 6785 w 51323"/>
                <a:gd name="connsiteY777" fmla="*/ 29733 h 51323"/>
                <a:gd name="connsiteX778" fmla="*/ 7060 w 51323"/>
                <a:gd name="connsiteY778" fmla="*/ 30007 h 51323"/>
                <a:gd name="connsiteX779" fmla="*/ 7472 w 51323"/>
                <a:gd name="connsiteY779" fmla="*/ 30196 h 51323"/>
                <a:gd name="connsiteX780" fmla="*/ 8262 w 51323"/>
                <a:gd name="connsiteY780" fmla="*/ 30402 h 51323"/>
                <a:gd name="connsiteX781" fmla="*/ 8262 w 51323"/>
                <a:gd name="connsiteY781" fmla="*/ 30643 h 51323"/>
                <a:gd name="connsiteX782" fmla="*/ 8434 w 51323"/>
                <a:gd name="connsiteY782" fmla="*/ 31107 h 51323"/>
                <a:gd name="connsiteX783" fmla="*/ 9189 w 51323"/>
                <a:gd name="connsiteY783" fmla="*/ 32000 h 51323"/>
                <a:gd name="connsiteX784" fmla="*/ 9550 w 51323"/>
                <a:gd name="connsiteY784" fmla="*/ 32309 h 51323"/>
                <a:gd name="connsiteX785" fmla="*/ 10220 w 51323"/>
                <a:gd name="connsiteY785" fmla="*/ 32532 h 51323"/>
                <a:gd name="connsiteX786" fmla="*/ 10856 w 51323"/>
                <a:gd name="connsiteY786" fmla="*/ 33151 h 51323"/>
                <a:gd name="connsiteX787" fmla="*/ 11302 w 51323"/>
                <a:gd name="connsiteY787" fmla="*/ 33924 h 51323"/>
                <a:gd name="connsiteX788" fmla="*/ 11045 w 51323"/>
                <a:gd name="connsiteY788" fmla="*/ 34868 h 51323"/>
                <a:gd name="connsiteX789" fmla="*/ 11148 w 51323"/>
                <a:gd name="connsiteY789" fmla="*/ 34868 h 51323"/>
                <a:gd name="connsiteX790" fmla="*/ 11337 w 51323"/>
                <a:gd name="connsiteY790" fmla="*/ 34731 h 51323"/>
                <a:gd name="connsiteX791" fmla="*/ 11337 w 51323"/>
                <a:gd name="connsiteY791" fmla="*/ 34731 h 51323"/>
                <a:gd name="connsiteX792" fmla="*/ 11337 w 51323"/>
                <a:gd name="connsiteY792" fmla="*/ 35092 h 51323"/>
                <a:gd name="connsiteX793" fmla="*/ 11680 w 51323"/>
                <a:gd name="connsiteY793" fmla="*/ 35624 h 51323"/>
                <a:gd name="connsiteX794" fmla="*/ 12419 w 51323"/>
                <a:gd name="connsiteY794" fmla="*/ 35074 h 51323"/>
                <a:gd name="connsiteX795" fmla="*/ 12642 w 51323"/>
                <a:gd name="connsiteY795" fmla="*/ 35263 h 51323"/>
                <a:gd name="connsiteX796" fmla="*/ 12882 w 51323"/>
                <a:gd name="connsiteY796" fmla="*/ 35469 h 51323"/>
                <a:gd name="connsiteX797" fmla="*/ 12968 w 51323"/>
                <a:gd name="connsiteY797" fmla="*/ 35830 h 51323"/>
                <a:gd name="connsiteX798" fmla="*/ 12968 w 51323"/>
                <a:gd name="connsiteY798" fmla="*/ 35710 h 51323"/>
                <a:gd name="connsiteX799" fmla="*/ 12968 w 51323"/>
                <a:gd name="connsiteY799" fmla="*/ 35504 h 51323"/>
                <a:gd name="connsiteX800" fmla="*/ 13363 w 51323"/>
                <a:gd name="connsiteY800" fmla="*/ 35641 h 51323"/>
                <a:gd name="connsiteX801" fmla="*/ 13466 w 51323"/>
                <a:gd name="connsiteY801" fmla="*/ 35744 h 51323"/>
                <a:gd name="connsiteX802" fmla="*/ 13466 w 51323"/>
                <a:gd name="connsiteY802" fmla="*/ 35744 h 51323"/>
                <a:gd name="connsiteX803" fmla="*/ 13466 w 51323"/>
                <a:gd name="connsiteY803" fmla="*/ 35744 h 51323"/>
                <a:gd name="connsiteX804" fmla="*/ 13466 w 51323"/>
                <a:gd name="connsiteY804" fmla="*/ 35744 h 51323"/>
                <a:gd name="connsiteX805" fmla="*/ 14926 w 51323"/>
                <a:gd name="connsiteY805" fmla="*/ 38922 h 51323"/>
                <a:gd name="connsiteX806" fmla="*/ 14926 w 51323"/>
                <a:gd name="connsiteY806" fmla="*/ 38819 h 51323"/>
                <a:gd name="connsiteX807" fmla="*/ 14806 w 51323"/>
                <a:gd name="connsiteY807" fmla="*/ 38819 h 51323"/>
                <a:gd name="connsiteX808" fmla="*/ 14806 w 51323"/>
                <a:gd name="connsiteY808" fmla="*/ 38819 h 51323"/>
                <a:gd name="connsiteX809" fmla="*/ 14806 w 51323"/>
                <a:gd name="connsiteY809" fmla="*/ 41447 h 51323"/>
                <a:gd name="connsiteX810" fmla="*/ 14806 w 51323"/>
                <a:gd name="connsiteY810" fmla="*/ 41447 h 51323"/>
                <a:gd name="connsiteX811" fmla="*/ 14600 w 51323"/>
                <a:gd name="connsiteY811" fmla="*/ 41447 h 51323"/>
                <a:gd name="connsiteX812" fmla="*/ 14600 w 51323"/>
                <a:gd name="connsiteY812" fmla="*/ 41687 h 51323"/>
                <a:gd name="connsiteX813" fmla="*/ 14154 w 51323"/>
                <a:gd name="connsiteY813" fmla="*/ 41962 h 51323"/>
                <a:gd name="connsiteX814" fmla="*/ 14154 w 51323"/>
                <a:gd name="connsiteY814" fmla="*/ 41962 h 51323"/>
                <a:gd name="connsiteX815" fmla="*/ 14154 w 51323"/>
                <a:gd name="connsiteY815" fmla="*/ 42048 h 51323"/>
                <a:gd name="connsiteX816" fmla="*/ 14154 w 51323"/>
                <a:gd name="connsiteY816" fmla="*/ 42048 h 51323"/>
                <a:gd name="connsiteX817" fmla="*/ 14411 w 51323"/>
                <a:gd name="connsiteY817" fmla="*/ 42529 h 51323"/>
                <a:gd name="connsiteX818" fmla="*/ 14411 w 51323"/>
                <a:gd name="connsiteY818" fmla="*/ 43336 h 51323"/>
                <a:gd name="connsiteX819" fmla="*/ 14411 w 51323"/>
                <a:gd name="connsiteY819" fmla="*/ 43250 h 51323"/>
                <a:gd name="connsiteX820" fmla="*/ 14411 w 51323"/>
                <a:gd name="connsiteY820" fmla="*/ 43113 h 51323"/>
                <a:gd name="connsiteX821" fmla="*/ 14171 w 51323"/>
                <a:gd name="connsiteY821" fmla="*/ 42924 h 51323"/>
                <a:gd name="connsiteX822" fmla="*/ 14325 w 51323"/>
                <a:gd name="connsiteY822" fmla="*/ 43113 h 51323"/>
                <a:gd name="connsiteX823" fmla="*/ 14325 w 51323"/>
                <a:gd name="connsiteY823" fmla="*/ 43250 h 51323"/>
                <a:gd name="connsiteX824" fmla="*/ 13844 w 51323"/>
                <a:gd name="connsiteY824" fmla="*/ 43817 h 51323"/>
                <a:gd name="connsiteX825" fmla="*/ 14549 w 51323"/>
                <a:gd name="connsiteY825" fmla="*/ 44418 h 51323"/>
                <a:gd name="connsiteX826" fmla="*/ 14549 w 51323"/>
                <a:gd name="connsiteY826" fmla="*/ 44418 h 51323"/>
                <a:gd name="connsiteX827" fmla="*/ 14755 w 51323"/>
                <a:gd name="connsiteY827" fmla="*/ 44693 h 51323"/>
                <a:gd name="connsiteX828" fmla="*/ 14755 w 51323"/>
                <a:gd name="connsiteY828" fmla="*/ 44693 h 51323"/>
                <a:gd name="connsiteX829" fmla="*/ 14755 w 51323"/>
                <a:gd name="connsiteY829" fmla="*/ 44882 h 51323"/>
                <a:gd name="connsiteX830" fmla="*/ 14291 w 51323"/>
                <a:gd name="connsiteY830" fmla="*/ 44882 h 51323"/>
                <a:gd name="connsiteX831" fmla="*/ 14566 w 51323"/>
                <a:gd name="connsiteY831" fmla="*/ 45123 h 51323"/>
                <a:gd name="connsiteX832" fmla="*/ 14566 w 51323"/>
                <a:gd name="connsiteY832" fmla="*/ 45123 h 51323"/>
                <a:gd name="connsiteX833" fmla="*/ 14463 w 51323"/>
                <a:gd name="connsiteY833" fmla="*/ 45294 h 51323"/>
                <a:gd name="connsiteX834" fmla="*/ 15012 w 51323"/>
                <a:gd name="connsiteY834" fmla="*/ 45707 h 51323"/>
                <a:gd name="connsiteX835" fmla="*/ 15012 w 51323"/>
                <a:gd name="connsiteY835" fmla="*/ 45707 h 51323"/>
                <a:gd name="connsiteX836" fmla="*/ 15012 w 51323"/>
                <a:gd name="connsiteY836" fmla="*/ 45707 h 51323"/>
                <a:gd name="connsiteX837" fmla="*/ 15717 w 51323"/>
                <a:gd name="connsiteY837" fmla="*/ 46359 h 51323"/>
                <a:gd name="connsiteX838" fmla="*/ 15717 w 51323"/>
                <a:gd name="connsiteY838" fmla="*/ 46359 h 51323"/>
                <a:gd name="connsiteX839" fmla="*/ 15717 w 51323"/>
                <a:gd name="connsiteY839" fmla="*/ 46359 h 51323"/>
                <a:gd name="connsiteX840" fmla="*/ 15717 w 51323"/>
                <a:gd name="connsiteY840" fmla="*/ 46359 h 51323"/>
                <a:gd name="connsiteX841" fmla="*/ 16730 w 51323"/>
                <a:gd name="connsiteY841" fmla="*/ 47012 h 51323"/>
                <a:gd name="connsiteX842" fmla="*/ 16730 w 51323"/>
                <a:gd name="connsiteY842" fmla="*/ 47012 h 51323"/>
                <a:gd name="connsiteX843" fmla="*/ 16730 w 51323"/>
                <a:gd name="connsiteY843" fmla="*/ 47012 h 51323"/>
                <a:gd name="connsiteX844" fmla="*/ 16730 w 51323"/>
                <a:gd name="connsiteY844" fmla="*/ 47012 h 51323"/>
                <a:gd name="connsiteX845" fmla="*/ 16885 w 51323"/>
                <a:gd name="connsiteY845" fmla="*/ 47132 h 51323"/>
                <a:gd name="connsiteX846" fmla="*/ 16885 w 51323"/>
                <a:gd name="connsiteY846" fmla="*/ 47132 h 51323"/>
                <a:gd name="connsiteX847" fmla="*/ 17091 w 51323"/>
                <a:gd name="connsiteY847" fmla="*/ 47270 h 51323"/>
                <a:gd name="connsiteX848" fmla="*/ 16988 w 51323"/>
                <a:gd name="connsiteY848" fmla="*/ 47270 h 51323"/>
                <a:gd name="connsiteX849" fmla="*/ 17898 w 51323"/>
                <a:gd name="connsiteY849" fmla="*/ 47751 h 51323"/>
                <a:gd name="connsiteX850" fmla="*/ 17898 w 51323"/>
                <a:gd name="connsiteY850" fmla="*/ 47751 h 51323"/>
                <a:gd name="connsiteX851" fmla="*/ 17898 w 51323"/>
                <a:gd name="connsiteY851" fmla="*/ 47751 h 51323"/>
                <a:gd name="connsiteX852" fmla="*/ 17898 w 51323"/>
                <a:gd name="connsiteY852" fmla="*/ 47751 h 51323"/>
                <a:gd name="connsiteX853" fmla="*/ 18396 w 51323"/>
                <a:gd name="connsiteY853" fmla="*/ 48008 h 51323"/>
                <a:gd name="connsiteX854" fmla="*/ 18173 w 51323"/>
                <a:gd name="connsiteY854" fmla="*/ 48008 h 51323"/>
                <a:gd name="connsiteX855" fmla="*/ 20560 w 51323"/>
                <a:gd name="connsiteY855" fmla="*/ 10117 h 51323"/>
                <a:gd name="connsiteX856" fmla="*/ 20560 w 51323"/>
                <a:gd name="connsiteY856" fmla="*/ 9980 h 51323"/>
                <a:gd name="connsiteX857" fmla="*/ 20286 w 51323"/>
                <a:gd name="connsiteY857" fmla="*/ 10323 h 51323"/>
                <a:gd name="connsiteX858" fmla="*/ 19289 w 51323"/>
                <a:gd name="connsiteY858" fmla="*/ 10907 h 51323"/>
                <a:gd name="connsiteX859" fmla="*/ 19152 w 51323"/>
                <a:gd name="connsiteY859" fmla="*/ 11165 h 51323"/>
                <a:gd name="connsiteX860" fmla="*/ 19152 w 51323"/>
                <a:gd name="connsiteY860" fmla="*/ 11165 h 51323"/>
                <a:gd name="connsiteX861" fmla="*/ 18997 w 51323"/>
                <a:gd name="connsiteY861" fmla="*/ 11165 h 51323"/>
                <a:gd name="connsiteX862" fmla="*/ 18585 w 51323"/>
                <a:gd name="connsiteY862" fmla="*/ 11577 h 51323"/>
                <a:gd name="connsiteX863" fmla="*/ 18259 w 51323"/>
                <a:gd name="connsiteY863" fmla="*/ 11903 h 51323"/>
                <a:gd name="connsiteX864" fmla="*/ 18001 w 51323"/>
                <a:gd name="connsiteY864" fmla="*/ 12109 h 51323"/>
                <a:gd name="connsiteX865" fmla="*/ 17743 w 51323"/>
                <a:gd name="connsiteY865" fmla="*/ 12006 h 51323"/>
                <a:gd name="connsiteX866" fmla="*/ 17503 w 51323"/>
                <a:gd name="connsiteY866" fmla="*/ 11783 h 51323"/>
                <a:gd name="connsiteX867" fmla="*/ 18018 w 51323"/>
                <a:gd name="connsiteY867" fmla="*/ 10461 h 51323"/>
                <a:gd name="connsiteX868" fmla="*/ 18448 w 51323"/>
                <a:gd name="connsiteY868" fmla="*/ 10134 h 51323"/>
                <a:gd name="connsiteX869" fmla="*/ 18448 w 51323"/>
                <a:gd name="connsiteY869" fmla="*/ 9739 h 51323"/>
                <a:gd name="connsiteX870" fmla="*/ 18345 w 51323"/>
                <a:gd name="connsiteY870" fmla="*/ 9739 h 51323"/>
                <a:gd name="connsiteX871" fmla="*/ 18963 w 51323"/>
                <a:gd name="connsiteY871" fmla="*/ 9344 h 51323"/>
                <a:gd name="connsiteX872" fmla="*/ 18774 w 51323"/>
                <a:gd name="connsiteY872" fmla="*/ 9104 h 51323"/>
                <a:gd name="connsiteX873" fmla="*/ 19324 w 51323"/>
                <a:gd name="connsiteY873" fmla="*/ 9104 h 51323"/>
                <a:gd name="connsiteX874" fmla="*/ 19324 w 51323"/>
                <a:gd name="connsiteY874" fmla="*/ 8966 h 51323"/>
                <a:gd name="connsiteX875" fmla="*/ 18946 w 51323"/>
                <a:gd name="connsiteY875" fmla="*/ 8966 h 51323"/>
                <a:gd name="connsiteX876" fmla="*/ 19598 w 51323"/>
                <a:gd name="connsiteY876" fmla="*/ 8674 h 51323"/>
                <a:gd name="connsiteX877" fmla="*/ 19598 w 51323"/>
                <a:gd name="connsiteY877" fmla="*/ 8674 h 51323"/>
                <a:gd name="connsiteX878" fmla="*/ 20182 w 51323"/>
                <a:gd name="connsiteY878" fmla="*/ 8193 h 51323"/>
                <a:gd name="connsiteX879" fmla="*/ 20354 w 51323"/>
                <a:gd name="connsiteY879" fmla="*/ 7953 h 51323"/>
                <a:gd name="connsiteX880" fmla="*/ 20560 w 51323"/>
                <a:gd name="connsiteY880" fmla="*/ 7764 h 51323"/>
                <a:gd name="connsiteX881" fmla="*/ 20681 w 51323"/>
                <a:gd name="connsiteY881" fmla="*/ 7386 h 51323"/>
                <a:gd name="connsiteX882" fmla="*/ 21746 w 51323"/>
                <a:gd name="connsiteY882" fmla="*/ 6338 h 51323"/>
                <a:gd name="connsiteX883" fmla="*/ 22914 w 51323"/>
                <a:gd name="connsiteY883" fmla="*/ 4981 h 51323"/>
                <a:gd name="connsiteX884" fmla="*/ 23326 w 51323"/>
                <a:gd name="connsiteY884" fmla="*/ 4844 h 51323"/>
                <a:gd name="connsiteX885" fmla="*/ 26761 w 51323"/>
                <a:gd name="connsiteY885" fmla="*/ 3693 h 51323"/>
                <a:gd name="connsiteX886" fmla="*/ 26881 w 51323"/>
                <a:gd name="connsiteY886" fmla="*/ 3693 h 51323"/>
                <a:gd name="connsiteX887" fmla="*/ 26607 w 51323"/>
                <a:gd name="connsiteY887" fmla="*/ 3951 h 51323"/>
                <a:gd name="connsiteX888" fmla="*/ 26211 w 51323"/>
                <a:gd name="connsiteY888" fmla="*/ 4208 h 51323"/>
                <a:gd name="connsiteX889" fmla="*/ 26211 w 51323"/>
                <a:gd name="connsiteY889" fmla="*/ 4329 h 51323"/>
                <a:gd name="connsiteX890" fmla="*/ 26074 w 51323"/>
                <a:gd name="connsiteY890" fmla="*/ 4500 h 51323"/>
                <a:gd name="connsiteX891" fmla="*/ 26383 w 51323"/>
                <a:gd name="connsiteY891" fmla="*/ 4621 h 51323"/>
                <a:gd name="connsiteX892" fmla="*/ 26057 w 51323"/>
                <a:gd name="connsiteY892" fmla="*/ 4947 h 51323"/>
                <a:gd name="connsiteX893" fmla="*/ 25301 w 51323"/>
                <a:gd name="connsiteY893" fmla="*/ 6235 h 51323"/>
                <a:gd name="connsiteX894" fmla="*/ 25112 w 51323"/>
                <a:gd name="connsiteY894" fmla="*/ 6373 h 51323"/>
                <a:gd name="connsiteX895" fmla="*/ 25009 w 51323"/>
                <a:gd name="connsiteY895" fmla="*/ 6596 h 51323"/>
                <a:gd name="connsiteX896" fmla="*/ 24751 w 51323"/>
                <a:gd name="connsiteY896" fmla="*/ 6596 h 51323"/>
                <a:gd name="connsiteX897" fmla="*/ 24751 w 51323"/>
                <a:gd name="connsiteY897" fmla="*/ 6768 h 51323"/>
                <a:gd name="connsiteX898" fmla="*/ 24751 w 51323"/>
                <a:gd name="connsiteY898" fmla="*/ 7180 h 51323"/>
                <a:gd name="connsiteX899" fmla="*/ 24442 w 51323"/>
                <a:gd name="connsiteY899" fmla="*/ 7489 h 51323"/>
                <a:gd name="connsiteX900" fmla="*/ 24133 w 51323"/>
                <a:gd name="connsiteY900" fmla="*/ 7489 h 51323"/>
                <a:gd name="connsiteX901" fmla="*/ 23738 w 51323"/>
                <a:gd name="connsiteY901" fmla="*/ 7626 h 51323"/>
                <a:gd name="connsiteX902" fmla="*/ 23738 w 51323"/>
                <a:gd name="connsiteY902" fmla="*/ 7781 h 51323"/>
                <a:gd name="connsiteX903" fmla="*/ 23824 w 51323"/>
                <a:gd name="connsiteY903" fmla="*/ 7987 h 51323"/>
                <a:gd name="connsiteX904" fmla="*/ 23583 w 51323"/>
                <a:gd name="connsiteY904" fmla="*/ 8262 h 51323"/>
                <a:gd name="connsiteX905" fmla="*/ 23137 w 51323"/>
                <a:gd name="connsiteY905" fmla="*/ 8520 h 51323"/>
                <a:gd name="connsiteX906" fmla="*/ 22931 w 51323"/>
                <a:gd name="connsiteY906" fmla="*/ 8726 h 51323"/>
                <a:gd name="connsiteX907" fmla="*/ 22931 w 51323"/>
                <a:gd name="connsiteY907" fmla="*/ 8846 h 51323"/>
                <a:gd name="connsiteX908" fmla="*/ 23446 w 51323"/>
                <a:gd name="connsiteY908" fmla="*/ 9121 h 51323"/>
                <a:gd name="connsiteX909" fmla="*/ 23137 w 51323"/>
                <a:gd name="connsiteY909" fmla="*/ 9275 h 51323"/>
                <a:gd name="connsiteX910" fmla="*/ 21952 w 51323"/>
                <a:gd name="connsiteY910" fmla="*/ 9396 h 51323"/>
                <a:gd name="connsiteX911" fmla="*/ 21831 w 51323"/>
                <a:gd name="connsiteY911" fmla="*/ 9653 h 51323"/>
                <a:gd name="connsiteX912" fmla="*/ 20560 w 51323"/>
                <a:gd name="connsiteY912" fmla="*/ 10117 h 51323"/>
                <a:gd name="connsiteX913" fmla="*/ 23669 w 51323"/>
                <a:gd name="connsiteY913" fmla="*/ 11440 h 51323"/>
                <a:gd name="connsiteX914" fmla="*/ 23412 w 51323"/>
                <a:gd name="connsiteY914" fmla="*/ 11440 h 51323"/>
                <a:gd name="connsiteX915" fmla="*/ 23274 w 51323"/>
                <a:gd name="connsiteY915" fmla="*/ 11319 h 51323"/>
                <a:gd name="connsiteX916" fmla="*/ 23274 w 51323"/>
                <a:gd name="connsiteY916" fmla="*/ 11319 h 51323"/>
                <a:gd name="connsiteX917" fmla="*/ 22965 w 51323"/>
                <a:gd name="connsiteY917" fmla="*/ 11319 h 51323"/>
                <a:gd name="connsiteX918" fmla="*/ 22965 w 51323"/>
                <a:gd name="connsiteY918" fmla="*/ 11319 h 51323"/>
                <a:gd name="connsiteX919" fmla="*/ 22965 w 51323"/>
                <a:gd name="connsiteY919" fmla="*/ 11233 h 51323"/>
                <a:gd name="connsiteX920" fmla="*/ 22965 w 51323"/>
                <a:gd name="connsiteY920" fmla="*/ 11233 h 51323"/>
                <a:gd name="connsiteX921" fmla="*/ 23206 w 51323"/>
                <a:gd name="connsiteY921" fmla="*/ 11148 h 51323"/>
                <a:gd name="connsiteX922" fmla="*/ 23206 w 51323"/>
                <a:gd name="connsiteY922" fmla="*/ 11027 h 51323"/>
                <a:gd name="connsiteX923" fmla="*/ 23206 w 51323"/>
                <a:gd name="connsiteY923" fmla="*/ 10941 h 51323"/>
                <a:gd name="connsiteX924" fmla="*/ 22948 w 51323"/>
                <a:gd name="connsiteY924" fmla="*/ 10821 h 51323"/>
                <a:gd name="connsiteX925" fmla="*/ 23223 w 51323"/>
                <a:gd name="connsiteY925" fmla="*/ 10821 h 51323"/>
                <a:gd name="connsiteX926" fmla="*/ 23412 w 51323"/>
                <a:gd name="connsiteY926" fmla="*/ 10718 h 51323"/>
                <a:gd name="connsiteX927" fmla="*/ 23412 w 51323"/>
                <a:gd name="connsiteY927" fmla="*/ 10718 h 51323"/>
                <a:gd name="connsiteX928" fmla="*/ 23412 w 51323"/>
                <a:gd name="connsiteY928" fmla="*/ 10632 h 51323"/>
                <a:gd name="connsiteX929" fmla="*/ 23412 w 51323"/>
                <a:gd name="connsiteY929" fmla="*/ 10632 h 51323"/>
                <a:gd name="connsiteX930" fmla="*/ 23412 w 51323"/>
                <a:gd name="connsiteY930" fmla="*/ 10632 h 51323"/>
                <a:gd name="connsiteX931" fmla="*/ 23412 w 51323"/>
                <a:gd name="connsiteY931" fmla="*/ 10632 h 51323"/>
                <a:gd name="connsiteX932" fmla="*/ 23291 w 51323"/>
                <a:gd name="connsiteY932" fmla="*/ 10632 h 51323"/>
                <a:gd name="connsiteX933" fmla="*/ 23291 w 51323"/>
                <a:gd name="connsiteY933" fmla="*/ 10632 h 51323"/>
                <a:gd name="connsiteX934" fmla="*/ 23291 w 51323"/>
                <a:gd name="connsiteY934" fmla="*/ 10632 h 51323"/>
                <a:gd name="connsiteX935" fmla="*/ 23291 w 51323"/>
                <a:gd name="connsiteY935" fmla="*/ 10632 h 51323"/>
                <a:gd name="connsiteX936" fmla="*/ 23291 w 51323"/>
                <a:gd name="connsiteY936" fmla="*/ 10632 h 51323"/>
                <a:gd name="connsiteX937" fmla="*/ 23291 w 51323"/>
                <a:gd name="connsiteY937" fmla="*/ 10632 h 51323"/>
                <a:gd name="connsiteX938" fmla="*/ 23291 w 51323"/>
                <a:gd name="connsiteY938" fmla="*/ 10632 h 51323"/>
                <a:gd name="connsiteX939" fmla="*/ 23291 w 51323"/>
                <a:gd name="connsiteY939" fmla="*/ 10478 h 51323"/>
                <a:gd name="connsiteX940" fmla="*/ 23291 w 51323"/>
                <a:gd name="connsiteY940" fmla="*/ 10581 h 51323"/>
                <a:gd name="connsiteX941" fmla="*/ 23291 w 51323"/>
                <a:gd name="connsiteY941" fmla="*/ 10581 h 51323"/>
                <a:gd name="connsiteX942" fmla="*/ 23291 w 51323"/>
                <a:gd name="connsiteY942" fmla="*/ 10581 h 51323"/>
                <a:gd name="connsiteX943" fmla="*/ 23291 w 51323"/>
                <a:gd name="connsiteY943" fmla="*/ 10667 h 51323"/>
                <a:gd name="connsiteX944" fmla="*/ 23291 w 51323"/>
                <a:gd name="connsiteY944" fmla="*/ 10787 h 51323"/>
                <a:gd name="connsiteX945" fmla="*/ 23291 w 51323"/>
                <a:gd name="connsiteY945" fmla="*/ 10873 h 51323"/>
                <a:gd name="connsiteX946" fmla="*/ 23429 w 51323"/>
                <a:gd name="connsiteY946" fmla="*/ 10701 h 51323"/>
                <a:gd name="connsiteX947" fmla="*/ 23601 w 51323"/>
                <a:gd name="connsiteY947" fmla="*/ 10461 h 51323"/>
                <a:gd name="connsiteX948" fmla="*/ 23601 w 51323"/>
                <a:gd name="connsiteY948" fmla="*/ 10598 h 51323"/>
                <a:gd name="connsiteX949" fmla="*/ 23790 w 51323"/>
                <a:gd name="connsiteY949" fmla="*/ 10478 h 51323"/>
                <a:gd name="connsiteX950" fmla="*/ 23790 w 51323"/>
                <a:gd name="connsiteY950" fmla="*/ 10787 h 51323"/>
                <a:gd name="connsiteX951" fmla="*/ 23961 w 51323"/>
                <a:gd name="connsiteY951" fmla="*/ 10512 h 51323"/>
                <a:gd name="connsiteX952" fmla="*/ 24099 w 51323"/>
                <a:gd name="connsiteY952" fmla="*/ 10512 h 51323"/>
                <a:gd name="connsiteX953" fmla="*/ 24322 w 51323"/>
                <a:gd name="connsiteY953" fmla="*/ 10512 h 51323"/>
                <a:gd name="connsiteX954" fmla="*/ 24528 w 51323"/>
                <a:gd name="connsiteY954" fmla="*/ 10512 h 51323"/>
                <a:gd name="connsiteX955" fmla="*/ 24528 w 51323"/>
                <a:gd name="connsiteY955" fmla="*/ 10632 h 51323"/>
                <a:gd name="connsiteX956" fmla="*/ 24528 w 51323"/>
                <a:gd name="connsiteY956" fmla="*/ 10804 h 51323"/>
                <a:gd name="connsiteX957" fmla="*/ 24528 w 51323"/>
                <a:gd name="connsiteY957" fmla="*/ 10804 h 51323"/>
                <a:gd name="connsiteX958" fmla="*/ 24528 w 51323"/>
                <a:gd name="connsiteY958" fmla="*/ 10924 h 51323"/>
                <a:gd name="connsiteX959" fmla="*/ 24528 w 51323"/>
                <a:gd name="connsiteY959" fmla="*/ 11148 h 51323"/>
                <a:gd name="connsiteX960" fmla="*/ 24288 w 51323"/>
                <a:gd name="connsiteY960" fmla="*/ 11148 h 51323"/>
                <a:gd name="connsiteX961" fmla="*/ 23978 w 51323"/>
                <a:gd name="connsiteY961" fmla="*/ 11388 h 51323"/>
                <a:gd name="connsiteX962" fmla="*/ 23978 w 51323"/>
                <a:gd name="connsiteY962" fmla="*/ 11388 h 51323"/>
                <a:gd name="connsiteX963" fmla="*/ 23790 w 51323"/>
                <a:gd name="connsiteY963" fmla="*/ 11388 h 51323"/>
                <a:gd name="connsiteX964" fmla="*/ 23790 w 51323"/>
                <a:gd name="connsiteY964" fmla="*/ 11388 h 51323"/>
                <a:gd name="connsiteX965" fmla="*/ 23669 w 51323"/>
                <a:gd name="connsiteY965" fmla="*/ 11440 h 51323"/>
                <a:gd name="connsiteX966" fmla="*/ 38184 w 51323"/>
                <a:gd name="connsiteY966" fmla="*/ 41533 h 51323"/>
                <a:gd name="connsiteX967" fmla="*/ 38802 w 51323"/>
                <a:gd name="connsiteY967" fmla="*/ 40640 h 51323"/>
                <a:gd name="connsiteX968" fmla="*/ 39540 w 51323"/>
                <a:gd name="connsiteY968" fmla="*/ 39523 h 51323"/>
                <a:gd name="connsiteX969" fmla="*/ 39540 w 51323"/>
                <a:gd name="connsiteY969" fmla="*/ 39523 h 51323"/>
                <a:gd name="connsiteX970" fmla="*/ 39540 w 51323"/>
                <a:gd name="connsiteY970" fmla="*/ 39523 h 51323"/>
                <a:gd name="connsiteX971" fmla="*/ 39781 w 51323"/>
                <a:gd name="connsiteY971" fmla="*/ 39386 h 51323"/>
                <a:gd name="connsiteX972" fmla="*/ 39953 w 51323"/>
                <a:gd name="connsiteY972" fmla="*/ 39386 h 51323"/>
                <a:gd name="connsiteX973" fmla="*/ 39953 w 51323"/>
                <a:gd name="connsiteY973" fmla="*/ 39386 h 51323"/>
                <a:gd name="connsiteX974" fmla="*/ 39953 w 51323"/>
                <a:gd name="connsiteY974" fmla="*/ 39248 h 51323"/>
                <a:gd name="connsiteX975" fmla="*/ 39953 w 51323"/>
                <a:gd name="connsiteY975" fmla="*/ 39248 h 51323"/>
                <a:gd name="connsiteX976" fmla="*/ 39953 w 51323"/>
                <a:gd name="connsiteY976" fmla="*/ 39248 h 51323"/>
                <a:gd name="connsiteX977" fmla="*/ 39953 w 51323"/>
                <a:gd name="connsiteY977" fmla="*/ 39369 h 51323"/>
                <a:gd name="connsiteX978" fmla="*/ 40107 w 51323"/>
                <a:gd name="connsiteY978" fmla="*/ 39266 h 51323"/>
                <a:gd name="connsiteX979" fmla="*/ 40107 w 51323"/>
                <a:gd name="connsiteY979" fmla="*/ 39145 h 51323"/>
                <a:gd name="connsiteX980" fmla="*/ 40107 w 51323"/>
                <a:gd name="connsiteY980" fmla="*/ 39042 h 51323"/>
                <a:gd name="connsiteX981" fmla="*/ 40262 w 51323"/>
                <a:gd name="connsiteY981" fmla="*/ 38939 h 51323"/>
                <a:gd name="connsiteX982" fmla="*/ 40485 w 51323"/>
                <a:gd name="connsiteY982" fmla="*/ 38561 h 51323"/>
                <a:gd name="connsiteX983" fmla="*/ 40674 w 51323"/>
                <a:gd name="connsiteY983" fmla="*/ 38441 h 51323"/>
                <a:gd name="connsiteX984" fmla="*/ 40674 w 51323"/>
                <a:gd name="connsiteY984" fmla="*/ 38664 h 51323"/>
                <a:gd name="connsiteX985" fmla="*/ 38184 w 51323"/>
                <a:gd name="connsiteY985" fmla="*/ 41533 h 51323"/>
                <a:gd name="connsiteX986" fmla="*/ 49159 w 51323"/>
                <a:gd name="connsiteY986" fmla="*/ 26589 h 51323"/>
                <a:gd name="connsiteX987" fmla="*/ 49159 w 51323"/>
                <a:gd name="connsiteY987" fmla="*/ 26589 h 51323"/>
                <a:gd name="connsiteX988" fmla="*/ 48386 w 51323"/>
                <a:gd name="connsiteY988" fmla="*/ 30643 h 51323"/>
                <a:gd name="connsiteX989" fmla="*/ 48215 w 51323"/>
                <a:gd name="connsiteY989" fmla="*/ 30849 h 51323"/>
                <a:gd name="connsiteX990" fmla="*/ 47613 w 51323"/>
                <a:gd name="connsiteY990" fmla="*/ 26452 h 51323"/>
                <a:gd name="connsiteX991" fmla="*/ 47613 w 51323"/>
                <a:gd name="connsiteY991" fmla="*/ 26160 h 51323"/>
                <a:gd name="connsiteX992" fmla="*/ 47528 w 51323"/>
                <a:gd name="connsiteY992" fmla="*/ 26160 h 51323"/>
                <a:gd name="connsiteX993" fmla="*/ 47098 w 51323"/>
                <a:gd name="connsiteY993" fmla="*/ 26606 h 51323"/>
                <a:gd name="connsiteX994" fmla="*/ 46995 w 51323"/>
                <a:gd name="connsiteY994" fmla="*/ 26383 h 51323"/>
                <a:gd name="connsiteX995" fmla="*/ 46995 w 51323"/>
                <a:gd name="connsiteY995" fmla="*/ 26383 h 51323"/>
                <a:gd name="connsiteX996" fmla="*/ 46995 w 51323"/>
                <a:gd name="connsiteY996" fmla="*/ 26383 h 51323"/>
                <a:gd name="connsiteX997" fmla="*/ 47081 w 51323"/>
                <a:gd name="connsiteY997" fmla="*/ 26040 h 51323"/>
                <a:gd name="connsiteX998" fmla="*/ 46806 w 51323"/>
                <a:gd name="connsiteY998" fmla="*/ 25833 h 51323"/>
                <a:gd name="connsiteX999" fmla="*/ 46686 w 51323"/>
                <a:gd name="connsiteY999" fmla="*/ 25971 h 51323"/>
                <a:gd name="connsiteX1000" fmla="*/ 46549 w 51323"/>
                <a:gd name="connsiteY1000" fmla="*/ 25971 h 51323"/>
                <a:gd name="connsiteX1001" fmla="*/ 46428 w 51323"/>
                <a:gd name="connsiteY1001" fmla="*/ 25559 h 51323"/>
                <a:gd name="connsiteX1002" fmla="*/ 46119 w 51323"/>
                <a:gd name="connsiteY1002" fmla="*/ 25438 h 51323"/>
                <a:gd name="connsiteX1003" fmla="*/ 45913 w 51323"/>
                <a:gd name="connsiteY1003" fmla="*/ 25610 h 51323"/>
                <a:gd name="connsiteX1004" fmla="*/ 45741 w 51323"/>
                <a:gd name="connsiteY1004" fmla="*/ 25610 h 51323"/>
                <a:gd name="connsiteX1005" fmla="*/ 45552 w 51323"/>
                <a:gd name="connsiteY1005" fmla="*/ 25765 h 51323"/>
                <a:gd name="connsiteX1006" fmla="*/ 45432 w 51323"/>
                <a:gd name="connsiteY1006" fmla="*/ 25765 h 51323"/>
                <a:gd name="connsiteX1007" fmla="*/ 45209 w 51323"/>
                <a:gd name="connsiteY1007" fmla="*/ 25679 h 51323"/>
                <a:gd name="connsiteX1008" fmla="*/ 44728 w 51323"/>
                <a:gd name="connsiteY1008" fmla="*/ 25679 h 51323"/>
                <a:gd name="connsiteX1009" fmla="*/ 44453 w 51323"/>
                <a:gd name="connsiteY1009" fmla="*/ 25679 h 51323"/>
                <a:gd name="connsiteX1010" fmla="*/ 43663 w 51323"/>
                <a:gd name="connsiteY1010" fmla="*/ 25404 h 51323"/>
                <a:gd name="connsiteX1011" fmla="*/ 43285 w 51323"/>
                <a:gd name="connsiteY1011" fmla="*/ 25146 h 51323"/>
                <a:gd name="connsiteX1012" fmla="*/ 42804 w 51323"/>
                <a:gd name="connsiteY1012" fmla="*/ 24803 h 51323"/>
                <a:gd name="connsiteX1013" fmla="*/ 42804 w 51323"/>
                <a:gd name="connsiteY1013" fmla="*/ 24803 h 51323"/>
                <a:gd name="connsiteX1014" fmla="*/ 42375 w 51323"/>
                <a:gd name="connsiteY1014" fmla="*/ 24425 h 51323"/>
                <a:gd name="connsiteX1015" fmla="*/ 42272 w 51323"/>
                <a:gd name="connsiteY1015" fmla="*/ 24270 h 51323"/>
                <a:gd name="connsiteX1016" fmla="*/ 42272 w 51323"/>
                <a:gd name="connsiteY1016" fmla="*/ 24270 h 51323"/>
                <a:gd name="connsiteX1017" fmla="*/ 42272 w 51323"/>
                <a:gd name="connsiteY1017" fmla="*/ 24270 h 51323"/>
                <a:gd name="connsiteX1018" fmla="*/ 42100 w 51323"/>
                <a:gd name="connsiteY1018" fmla="*/ 24597 h 51323"/>
                <a:gd name="connsiteX1019" fmla="*/ 42220 w 51323"/>
                <a:gd name="connsiteY1019" fmla="*/ 24597 h 51323"/>
                <a:gd name="connsiteX1020" fmla="*/ 42220 w 51323"/>
                <a:gd name="connsiteY1020" fmla="*/ 24597 h 51323"/>
                <a:gd name="connsiteX1021" fmla="*/ 42220 w 51323"/>
                <a:gd name="connsiteY1021" fmla="*/ 24734 h 51323"/>
                <a:gd name="connsiteX1022" fmla="*/ 42220 w 51323"/>
                <a:gd name="connsiteY1022" fmla="*/ 24734 h 51323"/>
                <a:gd name="connsiteX1023" fmla="*/ 42512 w 51323"/>
                <a:gd name="connsiteY1023" fmla="*/ 25112 h 51323"/>
                <a:gd name="connsiteX1024" fmla="*/ 42770 w 51323"/>
                <a:gd name="connsiteY1024" fmla="*/ 25610 h 51323"/>
                <a:gd name="connsiteX1025" fmla="*/ 42770 w 51323"/>
                <a:gd name="connsiteY1025" fmla="*/ 25610 h 51323"/>
                <a:gd name="connsiteX1026" fmla="*/ 43045 w 51323"/>
                <a:gd name="connsiteY1026" fmla="*/ 25782 h 51323"/>
                <a:gd name="connsiteX1027" fmla="*/ 43165 w 51323"/>
                <a:gd name="connsiteY1027" fmla="*/ 25627 h 51323"/>
                <a:gd name="connsiteX1028" fmla="*/ 43165 w 51323"/>
                <a:gd name="connsiteY1028" fmla="*/ 26108 h 51323"/>
                <a:gd name="connsiteX1029" fmla="*/ 43165 w 51323"/>
                <a:gd name="connsiteY1029" fmla="*/ 26211 h 51323"/>
                <a:gd name="connsiteX1030" fmla="*/ 43165 w 51323"/>
                <a:gd name="connsiteY1030" fmla="*/ 26366 h 51323"/>
                <a:gd name="connsiteX1031" fmla="*/ 43766 w 51323"/>
                <a:gd name="connsiteY1031" fmla="*/ 26091 h 51323"/>
                <a:gd name="connsiteX1032" fmla="*/ 43766 w 51323"/>
                <a:gd name="connsiteY1032" fmla="*/ 26091 h 51323"/>
                <a:gd name="connsiteX1033" fmla="*/ 44058 w 51323"/>
                <a:gd name="connsiteY1033" fmla="*/ 25318 h 51323"/>
                <a:gd name="connsiteX1034" fmla="*/ 44058 w 51323"/>
                <a:gd name="connsiteY1034" fmla="*/ 25318 h 51323"/>
                <a:gd name="connsiteX1035" fmla="*/ 44058 w 51323"/>
                <a:gd name="connsiteY1035" fmla="*/ 25215 h 51323"/>
                <a:gd name="connsiteX1036" fmla="*/ 44058 w 51323"/>
                <a:gd name="connsiteY1036" fmla="*/ 25507 h 51323"/>
                <a:gd name="connsiteX1037" fmla="*/ 44642 w 51323"/>
                <a:gd name="connsiteY1037" fmla="*/ 26091 h 51323"/>
                <a:gd name="connsiteX1038" fmla="*/ 44642 w 51323"/>
                <a:gd name="connsiteY1038" fmla="*/ 27311 h 51323"/>
                <a:gd name="connsiteX1039" fmla="*/ 44642 w 51323"/>
                <a:gd name="connsiteY1039" fmla="*/ 27877 h 51323"/>
                <a:gd name="connsiteX1040" fmla="*/ 44109 w 51323"/>
                <a:gd name="connsiteY1040" fmla="*/ 28376 h 51323"/>
                <a:gd name="connsiteX1041" fmla="*/ 44109 w 51323"/>
                <a:gd name="connsiteY1041" fmla="*/ 28719 h 51323"/>
                <a:gd name="connsiteX1042" fmla="*/ 43457 w 51323"/>
                <a:gd name="connsiteY1042" fmla="*/ 29114 h 51323"/>
                <a:gd name="connsiteX1043" fmla="*/ 42684 w 51323"/>
                <a:gd name="connsiteY1043" fmla="*/ 29767 h 51323"/>
                <a:gd name="connsiteX1044" fmla="*/ 42357 w 51323"/>
                <a:gd name="connsiteY1044" fmla="*/ 29990 h 51323"/>
                <a:gd name="connsiteX1045" fmla="*/ 41791 w 51323"/>
                <a:gd name="connsiteY1045" fmla="*/ 30248 h 51323"/>
                <a:gd name="connsiteX1046" fmla="*/ 41172 w 51323"/>
                <a:gd name="connsiteY1046" fmla="*/ 30626 h 51323"/>
                <a:gd name="connsiteX1047" fmla="*/ 40897 w 51323"/>
                <a:gd name="connsiteY1047" fmla="*/ 29629 h 51323"/>
                <a:gd name="connsiteX1048" fmla="*/ 39850 w 51323"/>
                <a:gd name="connsiteY1048" fmla="*/ 27706 h 51323"/>
                <a:gd name="connsiteX1049" fmla="*/ 39283 w 51323"/>
                <a:gd name="connsiteY1049" fmla="*/ 26606 h 51323"/>
                <a:gd name="connsiteX1050" fmla="*/ 38338 w 51323"/>
                <a:gd name="connsiteY1050" fmla="*/ 24751 h 51323"/>
                <a:gd name="connsiteX1051" fmla="*/ 38201 w 51323"/>
                <a:gd name="connsiteY1051" fmla="*/ 25438 h 51323"/>
                <a:gd name="connsiteX1052" fmla="*/ 37548 w 51323"/>
                <a:gd name="connsiteY1052" fmla="*/ 24717 h 51323"/>
                <a:gd name="connsiteX1053" fmla="*/ 38682 w 51323"/>
                <a:gd name="connsiteY1053" fmla="*/ 26692 h 51323"/>
                <a:gd name="connsiteX1054" fmla="*/ 38682 w 51323"/>
                <a:gd name="connsiteY1054" fmla="*/ 26692 h 51323"/>
                <a:gd name="connsiteX1055" fmla="*/ 38819 w 51323"/>
                <a:gd name="connsiteY1055" fmla="*/ 26830 h 51323"/>
                <a:gd name="connsiteX1056" fmla="*/ 38699 w 51323"/>
                <a:gd name="connsiteY1056" fmla="*/ 26830 h 51323"/>
                <a:gd name="connsiteX1057" fmla="*/ 39317 w 51323"/>
                <a:gd name="connsiteY1057" fmla="*/ 27826 h 51323"/>
                <a:gd name="connsiteX1058" fmla="*/ 39317 w 51323"/>
                <a:gd name="connsiteY1058" fmla="*/ 28376 h 51323"/>
                <a:gd name="connsiteX1059" fmla="*/ 39712 w 51323"/>
                <a:gd name="connsiteY1059" fmla="*/ 28891 h 51323"/>
                <a:gd name="connsiteX1060" fmla="*/ 40021 w 51323"/>
                <a:gd name="connsiteY1060" fmla="*/ 29715 h 51323"/>
                <a:gd name="connsiteX1061" fmla="*/ 40021 w 51323"/>
                <a:gd name="connsiteY1061" fmla="*/ 29801 h 51323"/>
                <a:gd name="connsiteX1062" fmla="*/ 40193 w 51323"/>
                <a:gd name="connsiteY1062" fmla="*/ 29939 h 51323"/>
                <a:gd name="connsiteX1063" fmla="*/ 40932 w 51323"/>
                <a:gd name="connsiteY1063" fmla="*/ 30626 h 51323"/>
                <a:gd name="connsiteX1064" fmla="*/ 41035 w 51323"/>
                <a:gd name="connsiteY1064" fmla="*/ 30746 h 51323"/>
                <a:gd name="connsiteX1065" fmla="*/ 40794 w 51323"/>
                <a:gd name="connsiteY1065" fmla="*/ 31038 h 51323"/>
                <a:gd name="connsiteX1066" fmla="*/ 41327 w 51323"/>
                <a:gd name="connsiteY1066" fmla="*/ 31450 h 51323"/>
                <a:gd name="connsiteX1067" fmla="*/ 42770 w 51323"/>
                <a:gd name="connsiteY1067" fmla="*/ 30901 h 51323"/>
                <a:gd name="connsiteX1068" fmla="*/ 42993 w 51323"/>
                <a:gd name="connsiteY1068" fmla="*/ 30660 h 51323"/>
                <a:gd name="connsiteX1069" fmla="*/ 42993 w 51323"/>
                <a:gd name="connsiteY1069" fmla="*/ 31210 h 51323"/>
                <a:gd name="connsiteX1070" fmla="*/ 42993 w 51323"/>
                <a:gd name="connsiteY1070" fmla="*/ 31210 h 51323"/>
                <a:gd name="connsiteX1071" fmla="*/ 38922 w 51323"/>
                <a:gd name="connsiteY1071" fmla="*/ 37033 h 51323"/>
                <a:gd name="connsiteX1072" fmla="*/ 38802 w 51323"/>
                <a:gd name="connsiteY1072" fmla="*/ 37307 h 51323"/>
                <a:gd name="connsiteX1073" fmla="*/ 38802 w 51323"/>
                <a:gd name="connsiteY1073" fmla="*/ 38012 h 51323"/>
                <a:gd name="connsiteX1074" fmla="*/ 38355 w 51323"/>
                <a:gd name="connsiteY1074" fmla="*/ 39248 h 51323"/>
                <a:gd name="connsiteX1075" fmla="*/ 38355 w 51323"/>
                <a:gd name="connsiteY1075" fmla="*/ 39351 h 51323"/>
                <a:gd name="connsiteX1076" fmla="*/ 37119 w 51323"/>
                <a:gd name="connsiteY1076" fmla="*/ 40193 h 51323"/>
                <a:gd name="connsiteX1077" fmla="*/ 37119 w 51323"/>
                <a:gd name="connsiteY1077" fmla="*/ 40193 h 51323"/>
                <a:gd name="connsiteX1078" fmla="*/ 36311 w 51323"/>
                <a:gd name="connsiteY1078" fmla="*/ 40691 h 51323"/>
                <a:gd name="connsiteX1079" fmla="*/ 36311 w 51323"/>
                <a:gd name="connsiteY1079" fmla="*/ 40880 h 51323"/>
                <a:gd name="connsiteX1080" fmla="*/ 36311 w 51323"/>
                <a:gd name="connsiteY1080" fmla="*/ 41035 h 51323"/>
                <a:gd name="connsiteX1081" fmla="*/ 36311 w 51323"/>
                <a:gd name="connsiteY1081" fmla="*/ 41395 h 51323"/>
                <a:gd name="connsiteX1082" fmla="*/ 36311 w 51323"/>
                <a:gd name="connsiteY1082" fmla="*/ 41292 h 51323"/>
                <a:gd name="connsiteX1083" fmla="*/ 36311 w 51323"/>
                <a:gd name="connsiteY1083" fmla="*/ 41292 h 51323"/>
                <a:gd name="connsiteX1084" fmla="*/ 36311 w 51323"/>
                <a:gd name="connsiteY1084" fmla="*/ 41292 h 51323"/>
                <a:gd name="connsiteX1085" fmla="*/ 36054 w 51323"/>
                <a:gd name="connsiteY1085" fmla="*/ 41705 h 51323"/>
                <a:gd name="connsiteX1086" fmla="*/ 36054 w 51323"/>
                <a:gd name="connsiteY1086" fmla="*/ 41705 h 51323"/>
                <a:gd name="connsiteX1087" fmla="*/ 35006 w 51323"/>
                <a:gd name="connsiteY1087" fmla="*/ 42392 h 51323"/>
                <a:gd name="connsiteX1088" fmla="*/ 35126 w 51323"/>
                <a:gd name="connsiteY1088" fmla="*/ 42392 h 51323"/>
                <a:gd name="connsiteX1089" fmla="*/ 34954 w 51323"/>
                <a:gd name="connsiteY1089" fmla="*/ 42598 h 51323"/>
                <a:gd name="connsiteX1090" fmla="*/ 34954 w 51323"/>
                <a:gd name="connsiteY1090" fmla="*/ 42598 h 51323"/>
                <a:gd name="connsiteX1091" fmla="*/ 32051 w 51323"/>
                <a:gd name="connsiteY1091" fmla="*/ 44315 h 51323"/>
                <a:gd name="connsiteX1092" fmla="*/ 30660 w 51323"/>
                <a:gd name="connsiteY1092" fmla="*/ 44418 h 51323"/>
                <a:gd name="connsiteX1093" fmla="*/ 30660 w 51323"/>
                <a:gd name="connsiteY1093" fmla="*/ 44418 h 51323"/>
                <a:gd name="connsiteX1094" fmla="*/ 30660 w 51323"/>
                <a:gd name="connsiteY1094" fmla="*/ 44418 h 51323"/>
                <a:gd name="connsiteX1095" fmla="*/ 30660 w 51323"/>
                <a:gd name="connsiteY1095" fmla="*/ 44092 h 51323"/>
                <a:gd name="connsiteX1096" fmla="*/ 30660 w 51323"/>
                <a:gd name="connsiteY1096" fmla="*/ 43199 h 51323"/>
                <a:gd name="connsiteX1097" fmla="*/ 29836 w 51323"/>
                <a:gd name="connsiteY1097" fmla="*/ 40296 h 51323"/>
                <a:gd name="connsiteX1098" fmla="*/ 30591 w 51323"/>
                <a:gd name="connsiteY1098" fmla="*/ 38046 h 51323"/>
                <a:gd name="connsiteX1099" fmla="*/ 30471 w 51323"/>
                <a:gd name="connsiteY1099" fmla="*/ 37204 h 51323"/>
                <a:gd name="connsiteX1100" fmla="*/ 30574 w 51323"/>
                <a:gd name="connsiteY1100" fmla="*/ 37204 h 51323"/>
                <a:gd name="connsiteX1101" fmla="*/ 30454 w 51323"/>
                <a:gd name="connsiteY1101" fmla="*/ 37050 h 51323"/>
                <a:gd name="connsiteX1102" fmla="*/ 29423 w 51323"/>
                <a:gd name="connsiteY1102" fmla="*/ 35607 h 51323"/>
                <a:gd name="connsiteX1103" fmla="*/ 29630 w 51323"/>
                <a:gd name="connsiteY1103" fmla="*/ 35298 h 51323"/>
                <a:gd name="connsiteX1104" fmla="*/ 29819 w 51323"/>
                <a:gd name="connsiteY1104" fmla="*/ 35298 h 51323"/>
                <a:gd name="connsiteX1105" fmla="*/ 29647 w 51323"/>
                <a:gd name="connsiteY1105" fmla="*/ 35177 h 51323"/>
                <a:gd name="connsiteX1106" fmla="*/ 29647 w 51323"/>
                <a:gd name="connsiteY1106" fmla="*/ 35040 h 51323"/>
                <a:gd name="connsiteX1107" fmla="*/ 29836 w 51323"/>
                <a:gd name="connsiteY1107" fmla="*/ 34095 h 51323"/>
                <a:gd name="connsiteX1108" fmla="*/ 29612 w 51323"/>
                <a:gd name="connsiteY1108" fmla="*/ 33906 h 51323"/>
                <a:gd name="connsiteX1109" fmla="*/ 29423 w 51323"/>
                <a:gd name="connsiteY1109" fmla="*/ 33906 h 51323"/>
                <a:gd name="connsiteX1110" fmla="*/ 28496 w 51323"/>
                <a:gd name="connsiteY1110" fmla="*/ 34044 h 51323"/>
                <a:gd name="connsiteX1111" fmla="*/ 25937 w 51323"/>
                <a:gd name="connsiteY1111" fmla="*/ 33821 h 51323"/>
                <a:gd name="connsiteX1112" fmla="*/ 22501 w 51323"/>
                <a:gd name="connsiteY1112" fmla="*/ 32687 h 51323"/>
                <a:gd name="connsiteX1113" fmla="*/ 22226 w 51323"/>
                <a:gd name="connsiteY1113" fmla="*/ 32361 h 51323"/>
                <a:gd name="connsiteX1114" fmla="*/ 22226 w 51323"/>
                <a:gd name="connsiteY1114" fmla="*/ 32137 h 51323"/>
                <a:gd name="connsiteX1115" fmla="*/ 21986 w 51323"/>
                <a:gd name="connsiteY1115" fmla="*/ 31828 h 51323"/>
                <a:gd name="connsiteX1116" fmla="*/ 21591 w 51323"/>
                <a:gd name="connsiteY1116" fmla="*/ 31536 h 51323"/>
                <a:gd name="connsiteX1117" fmla="*/ 21436 w 51323"/>
                <a:gd name="connsiteY1117" fmla="*/ 31450 h 51323"/>
                <a:gd name="connsiteX1118" fmla="*/ 21436 w 51323"/>
                <a:gd name="connsiteY1118" fmla="*/ 31450 h 51323"/>
                <a:gd name="connsiteX1119" fmla="*/ 21436 w 51323"/>
                <a:gd name="connsiteY1119" fmla="*/ 31450 h 51323"/>
                <a:gd name="connsiteX1120" fmla="*/ 21436 w 51323"/>
                <a:gd name="connsiteY1120" fmla="*/ 31347 h 51323"/>
                <a:gd name="connsiteX1121" fmla="*/ 21642 w 51323"/>
                <a:gd name="connsiteY1121" fmla="*/ 31347 h 51323"/>
                <a:gd name="connsiteX1122" fmla="*/ 21247 w 51323"/>
                <a:gd name="connsiteY1122" fmla="*/ 31158 h 51323"/>
                <a:gd name="connsiteX1123" fmla="*/ 21041 w 51323"/>
                <a:gd name="connsiteY1123" fmla="*/ 30986 h 51323"/>
                <a:gd name="connsiteX1124" fmla="*/ 21213 w 51323"/>
                <a:gd name="connsiteY1124" fmla="*/ 30986 h 51323"/>
                <a:gd name="connsiteX1125" fmla="*/ 21024 w 51323"/>
                <a:gd name="connsiteY1125" fmla="*/ 30986 h 51323"/>
                <a:gd name="connsiteX1126" fmla="*/ 21024 w 51323"/>
                <a:gd name="connsiteY1126" fmla="*/ 30780 h 51323"/>
                <a:gd name="connsiteX1127" fmla="*/ 21299 w 51323"/>
                <a:gd name="connsiteY1127" fmla="*/ 30780 h 51323"/>
                <a:gd name="connsiteX1128" fmla="*/ 21144 w 51323"/>
                <a:gd name="connsiteY1128" fmla="*/ 30626 h 51323"/>
                <a:gd name="connsiteX1129" fmla="*/ 21144 w 51323"/>
                <a:gd name="connsiteY1129" fmla="*/ 30626 h 51323"/>
                <a:gd name="connsiteX1130" fmla="*/ 20921 w 51323"/>
                <a:gd name="connsiteY1130" fmla="*/ 30299 h 51323"/>
                <a:gd name="connsiteX1131" fmla="*/ 21333 w 51323"/>
                <a:gd name="connsiteY1131" fmla="*/ 28582 h 51323"/>
                <a:gd name="connsiteX1132" fmla="*/ 21436 w 51323"/>
                <a:gd name="connsiteY1132" fmla="*/ 28358 h 51323"/>
                <a:gd name="connsiteX1133" fmla="*/ 21247 w 51323"/>
                <a:gd name="connsiteY1133" fmla="*/ 28135 h 51323"/>
                <a:gd name="connsiteX1134" fmla="*/ 21247 w 51323"/>
                <a:gd name="connsiteY1134" fmla="*/ 28221 h 51323"/>
                <a:gd name="connsiteX1135" fmla="*/ 21591 w 51323"/>
                <a:gd name="connsiteY1135" fmla="*/ 27465 h 51323"/>
                <a:gd name="connsiteX1136" fmla="*/ 23927 w 51323"/>
                <a:gd name="connsiteY1136" fmla="*/ 25043 h 51323"/>
                <a:gd name="connsiteX1137" fmla="*/ 23927 w 51323"/>
                <a:gd name="connsiteY1137" fmla="*/ 24562 h 51323"/>
                <a:gd name="connsiteX1138" fmla="*/ 24133 w 51323"/>
                <a:gd name="connsiteY1138" fmla="*/ 24081 h 51323"/>
                <a:gd name="connsiteX1139" fmla="*/ 25473 w 51323"/>
                <a:gd name="connsiteY1139" fmla="*/ 22896 h 51323"/>
                <a:gd name="connsiteX1140" fmla="*/ 26194 w 51323"/>
                <a:gd name="connsiteY1140" fmla="*/ 23102 h 51323"/>
                <a:gd name="connsiteX1141" fmla="*/ 27586 w 51323"/>
                <a:gd name="connsiteY1141" fmla="*/ 22725 h 51323"/>
                <a:gd name="connsiteX1142" fmla="*/ 29063 w 51323"/>
                <a:gd name="connsiteY1142" fmla="*/ 22587 h 51323"/>
                <a:gd name="connsiteX1143" fmla="*/ 29372 w 51323"/>
                <a:gd name="connsiteY1143" fmla="*/ 22587 h 51323"/>
                <a:gd name="connsiteX1144" fmla="*/ 30162 w 51323"/>
                <a:gd name="connsiteY1144" fmla="*/ 22587 h 51323"/>
                <a:gd name="connsiteX1145" fmla="*/ 30385 w 51323"/>
                <a:gd name="connsiteY1145" fmla="*/ 22776 h 51323"/>
                <a:gd name="connsiteX1146" fmla="*/ 30385 w 51323"/>
                <a:gd name="connsiteY1146" fmla="*/ 23017 h 51323"/>
                <a:gd name="connsiteX1147" fmla="*/ 30385 w 51323"/>
                <a:gd name="connsiteY1147" fmla="*/ 23910 h 51323"/>
                <a:gd name="connsiteX1148" fmla="*/ 30506 w 51323"/>
                <a:gd name="connsiteY1148" fmla="*/ 23910 h 51323"/>
                <a:gd name="connsiteX1149" fmla="*/ 30506 w 51323"/>
                <a:gd name="connsiteY1149" fmla="*/ 23910 h 51323"/>
                <a:gd name="connsiteX1150" fmla="*/ 31622 w 51323"/>
                <a:gd name="connsiteY1150" fmla="*/ 24236 h 51323"/>
                <a:gd name="connsiteX1151" fmla="*/ 34473 w 51323"/>
                <a:gd name="connsiteY1151" fmla="*/ 24236 h 51323"/>
                <a:gd name="connsiteX1152" fmla="*/ 36191 w 51323"/>
                <a:gd name="connsiteY1152" fmla="*/ 24700 h 51323"/>
                <a:gd name="connsiteX1153" fmla="*/ 37084 w 51323"/>
                <a:gd name="connsiteY1153" fmla="*/ 24494 h 51323"/>
                <a:gd name="connsiteX1154" fmla="*/ 37187 w 51323"/>
                <a:gd name="connsiteY1154" fmla="*/ 24494 h 51323"/>
                <a:gd name="connsiteX1155" fmla="*/ 37187 w 51323"/>
                <a:gd name="connsiteY1155" fmla="*/ 24494 h 51323"/>
                <a:gd name="connsiteX1156" fmla="*/ 37462 w 51323"/>
                <a:gd name="connsiteY1156" fmla="*/ 24494 h 51323"/>
                <a:gd name="connsiteX1157" fmla="*/ 37565 w 51323"/>
                <a:gd name="connsiteY1157" fmla="*/ 24665 h 51323"/>
                <a:gd name="connsiteX1158" fmla="*/ 37565 w 51323"/>
                <a:gd name="connsiteY1158" fmla="*/ 24494 h 51323"/>
                <a:gd name="connsiteX1159" fmla="*/ 38407 w 51323"/>
                <a:gd name="connsiteY1159" fmla="*/ 22381 h 51323"/>
                <a:gd name="connsiteX1160" fmla="*/ 37840 w 51323"/>
                <a:gd name="connsiteY1160" fmla="*/ 22656 h 51323"/>
                <a:gd name="connsiteX1161" fmla="*/ 36775 w 51323"/>
                <a:gd name="connsiteY1161" fmla="*/ 22656 h 51323"/>
                <a:gd name="connsiteX1162" fmla="*/ 36277 w 51323"/>
                <a:gd name="connsiteY1162" fmla="*/ 22536 h 51323"/>
                <a:gd name="connsiteX1163" fmla="*/ 36140 w 51323"/>
                <a:gd name="connsiteY1163" fmla="*/ 22536 h 51323"/>
                <a:gd name="connsiteX1164" fmla="*/ 35933 w 51323"/>
                <a:gd name="connsiteY1164" fmla="*/ 22536 h 51323"/>
                <a:gd name="connsiteX1165" fmla="*/ 35727 w 51323"/>
                <a:gd name="connsiteY1165" fmla="*/ 22536 h 51323"/>
                <a:gd name="connsiteX1166" fmla="*/ 35951 w 51323"/>
                <a:gd name="connsiteY1166" fmla="*/ 22398 h 51323"/>
                <a:gd name="connsiteX1167" fmla="*/ 35762 w 51323"/>
                <a:gd name="connsiteY1167" fmla="*/ 22398 h 51323"/>
                <a:gd name="connsiteX1168" fmla="*/ 35401 w 51323"/>
                <a:gd name="connsiteY1168" fmla="*/ 22020 h 51323"/>
                <a:gd name="connsiteX1169" fmla="*/ 35401 w 51323"/>
                <a:gd name="connsiteY1169" fmla="*/ 21831 h 51323"/>
                <a:gd name="connsiteX1170" fmla="*/ 35573 w 51323"/>
                <a:gd name="connsiteY1170" fmla="*/ 21831 h 51323"/>
                <a:gd name="connsiteX1171" fmla="*/ 35573 w 51323"/>
                <a:gd name="connsiteY1171" fmla="*/ 21831 h 51323"/>
                <a:gd name="connsiteX1172" fmla="*/ 35676 w 51323"/>
                <a:gd name="connsiteY1172" fmla="*/ 21694 h 51323"/>
                <a:gd name="connsiteX1173" fmla="*/ 35676 w 51323"/>
                <a:gd name="connsiteY1173" fmla="*/ 21488 h 51323"/>
                <a:gd name="connsiteX1174" fmla="*/ 35779 w 51323"/>
                <a:gd name="connsiteY1174" fmla="*/ 21179 h 51323"/>
                <a:gd name="connsiteX1175" fmla="*/ 36225 w 51323"/>
                <a:gd name="connsiteY1175" fmla="*/ 21179 h 51323"/>
                <a:gd name="connsiteX1176" fmla="*/ 36397 w 51323"/>
                <a:gd name="connsiteY1176" fmla="*/ 20990 h 51323"/>
                <a:gd name="connsiteX1177" fmla="*/ 36827 w 51323"/>
                <a:gd name="connsiteY1177" fmla="*/ 20784 h 51323"/>
                <a:gd name="connsiteX1178" fmla="*/ 37788 w 51323"/>
                <a:gd name="connsiteY1178" fmla="*/ 20371 h 51323"/>
                <a:gd name="connsiteX1179" fmla="*/ 38063 w 51323"/>
                <a:gd name="connsiteY1179" fmla="*/ 20371 h 51323"/>
                <a:gd name="connsiteX1180" fmla="*/ 38287 w 51323"/>
                <a:gd name="connsiteY1180" fmla="*/ 20526 h 51323"/>
                <a:gd name="connsiteX1181" fmla="*/ 37857 w 51323"/>
                <a:gd name="connsiteY1181" fmla="*/ 19049 h 51323"/>
                <a:gd name="connsiteX1182" fmla="*/ 37857 w 51323"/>
                <a:gd name="connsiteY1182" fmla="*/ 18911 h 51323"/>
                <a:gd name="connsiteX1183" fmla="*/ 37977 w 51323"/>
                <a:gd name="connsiteY1183" fmla="*/ 18791 h 51323"/>
                <a:gd name="connsiteX1184" fmla="*/ 37977 w 51323"/>
                <a:gd name="connsiteY1184" fmla="*/ 18551 h 51323"/>
                <a:gd name="connsiteX1185" fmla="*/ 37857 w 51323"/>
                <a:gd name="connsiteY1185" fmla="*/ 18448 h 51323"/>
                <a:gd name="connsiteX1186" fmla="*/ 38029 w 51323"/>
                <a:gd name="connsiteY1186" fmla="*/ 18448 h 51323"/>
                <a:gd name="connsiteX1187" fmla="*/ 38132 w 51323"/>
                <a:gd name="connsiteY1187" fmla="*/ 18224 h 51323"/>
                <a:gd name="connsiteX1188" fmla="*/ 37548 w 51323"/>
                <a:gd name="connsiteY1188" fmla="*/ 18499 h 51323"/>
                <a:gd name="connsiteX1189" fmla="*/ 37359 w 51323"/>
                <a:gd name="connsiteY1189" fmla="*/ 18499 h 51323"/>
                <a:gd name="connsiteX1190" fmla="*/ 37204 w 51323"/>
                <a:gd name="connsiteY1190" fmla="*/ 18499 h 51323"/>
                <a:gd name="connsiteX1191" fmla="*/ 37204 w 51323"/>
                <a:gd name="connsiteY1191" fmla="*/ 18705 h 51323"/>
                <a:gd name="connsiteX1192" fmla="*/ 37204 w 51323"/>
                <a:gd name="connsiteY1192" fmla="*/ 18568 h 51323"/>
                <a:gd name="connsiteX1193" fmla="*/ 36878 w 51323"/>
                <a:gd name="connsiteY1193" fmla="*/ 18791 h 51323"/>
                <a:gd name="connsiteX1194" fmla="*/ 37136 w 51323"/>
                <a:gd name="connsiteY1194" fmla="*/ 18946 h 51323"/>
                <a:gd name="connsiteX1195" fmla="*/ 37136 w 51323"/>
                <a:gd name="connsiteY1195" fmla="*/ 18946 h 51323"/>
                <a:gd name="connsiteX1196" fmla="*/ 37325 w 51323"/>
                <a:gd name="connsiteY1196" fmla="*/ 19049 h 51323"/>
                <a:gd name="connsiteX1197" fmla="*/ 37084 w 51323"/>
                <a:gd name="connsiteY1197" fmla="*/ 18705 h 51323"/>
                <a:gd name="connsiteX1198" fmla="*/ 37393 w 51323"/>
                <a:gd name="connsiteY1198" fmla="*/ 19014 h 51323"/>
                <a:gd name="connsiteX1199" fmla="*/ 37514 w 51323"/>
                <a:gd name="connsiteY1199" fmla="*/ 19014 h 51323"/>
                <a:gd name="connsiteX1200" fmla="*/ 37685 w 51323"/>
                <a:gd name="connsiteY1200" fmla="*/ 18929 h 51323"/>
                <a:gd name="connsiteX1201" fmla="*/ 37462 w 51323"/>
                <a:gd name="connsiteY1201" fmla="*/ 19100 h 51323"/>
                <a:gd name="connsiteX1202" fmla="*/ 36912 w 51323"/>
                <a:gd name="connsiteY1202" fmla="*/ 19100 h 51323"/>
                <a:gd name="connsiteX1203" fmla="*/ 36758 w 51323"/>
                <a:gd name="connsiteY1203" fmla="*/ 18860 h 51323"/>
                <a:gd name="connsiteX1204" fmla="*/ 36500 w 51323"/>
                <a:gd name="connsiteY1204" fmla="*/ 18740 h 51323"/>
                <a:gd name="connsiteX1205" fmla="*/ 36380 w 51323"/>
                <a:gd name="connsiteY1205" fmla="*/ 18619 h 51323"/>
                <a:gd name="connsiteX1206" fmla="*/ 36157 w 51323"/>
                <a:gd name="connsiteY1206" fmla="*/ 18619 h 51323"/>
                <a:gd name="connsiteX1207" fmla="*/ 36449 w 51323"/>
                <a:gd name="connsiteY1207" fmla="*/ 18619 h 51323"/>
                <a:gd name="connsiteX1208" fmla="*/ 36260 w 51323"/>
                <a:gd name="connsiteY1208" fmla="*/ 18619 h 51323"/>
                <a:gd name="connsiteX1209" fmla="*/ 36088 w 51323"/>
                <a:gd name="connsiteY1209" fmla="*/ 18740 h 51323"/>
                <a:gd name="connsiteX1210" fmla="*/ 35916 w 51323"/>
                <a:gd name="connsiteY1210" fmla="*/ 18946 h 51323"/>
                <a:gd name="connsiteX1211" fmla="*/ 35796 w 51323"/>
                <a:gd name="connsiteY1211" fmla="*/ 19083 h 51323"/>
                <a:gd name="connsiteX1212" fmla="*/ 35607 w 51323"/>
                <a:gd name="connsiteY1212" fmla="*/ 19598 h 51323"/>
                <a:gd name="connsiteX1213" fmla="*/ 35607 w 51323"/>
                <a:gd name="connsiteY1213" fmla="*/ 19993 h 51323"/>
                <a:gd name="connsiteX1214" fmla="*/ 35470 w 51323"/>
                <a:gd name="connsiteY1214" fmla="*/ 20251 h 51323"/>
                <a:gd name="connsiteX1215" fmla="*/ 35607 w 51323"/>
                <a:gd name="connsiteY1215" fmla="*/ 20698 h 51323"/>
                <a:gd name="connsiteX1216" fmla="*/ 35899 w 51323"/>
                <a:gd name="connsiteY1216" fmla="*/ 20990 h 51323"/>
                <a:gd name="connsiteX1217" fmla="*/ 35212 w 51323"/>
                <a:gd name="connsiteY1217" fmla="*/ 21333 h 51323"/>
                <a:gd name="connsiteX1218" fmla="*/ 35315 w 51323"/>
                <a:gd name="connsiteY1218" fmla="*/ 21144 h 51323"/>
                <a:gd name="connsiteX1219" fmla="*/ 34731 w 51323"/>
                <a:gd name="connsiteY1219" fmla="*/ 21144 h 51323"/>
                <a:gd name="connsiteX1220" fmla="*/ 34491 w 51323"/>
                <a:gd name="connsiteY1220" fmla="*/ 21230 h 51323"/>
                <a:gd name="connsiteX1221" fmla="*/ 34611 w 51323"/>
                <a:gd name="connsiteY1221" fmla="*/ 21385 h 51323"/>
                <a:gd name="connsiteX1222" fmla="*/ 34439 w 51323"/>
                <a:gd name="connsiteY1222" fmla="*/ 21385 h 51323"/>
                <a:gd name="connsiteX1223" fmla="*/ 34439 w 51323"/>
                <a:gd name="connsiteY1223" fmla="*/ 21471 h 51323"/>
                <a:gd name="connsiteX1224" fmla="*/ 34439 w 51323"/>
                <a:gd name="connsiteY1224" fmla="*/ 21471 h 51323"/>
                <a:gd name="connsiteX1225" fmla="*/ 34164 w 51323"/>
                <a:gd name="connsiteY1225" fmla="*/ 21282 h 51323"/>
                <a:gd name="connsiteX1226" fmla="*/ 34164 w 51323"/>
                <a:gd name="connsiteY1226" fmla="*/ 21522 h 51323"/>
                <a:gd name="connsiteX1227" fmla="*/ 34164 w 51323"/>
                <a:gd name="connsiteY1227" fmla="*/ 21728 h 51323"/>
                <a:gd name="connsiteX1228" fmla="*/ 34164 w 51323"/>
                <a:gd name="connsiteY1228" fmla="*/ 21728 h 51323"/>
                <a:gd name="connsiteX1229" fmla="*/ 34164 w 51323"/>
                <a:gd name="connsiteY1229" fmla="*/ 21831 h 51323"/>
                <a:gd name="connsiteX1230" fmla="*/ 34662 w 51323"/>
                <a:gd name="connsiteY1230" fmla="*/ 22295 h 51323"/>
                <a:gd name="connsiteX1231" fmla="*/ 34336 w 51323"/>
                <a:gd name="connsiteY1231" fmla="*/ 22295 h 51323"/>
                <a:gd name="connsiteX1232" fmla="*/ 34456 w 51323"/>
                <a:gd name="connsiteY1232" fmla="*/ 22467 h 51323"/>
                <a:gd name="connsiteX1233" fmla="*/ 34456 w 51323"/>
                <a:gd name="connsiteY1233" fmla="*/ 22467 h 51323"/>
                <a:gd name="connsiteX1234" fmla="*/ 34456 w 51323"/>
                <a:gd name="connsiteY1234" fmla="*/ 22776 h 51323"/>
                <a:gd name="connsiteX1235" fmla="*/ 34250 w 51323"/>
                <a:gd name="connsiteY1235" fmla="*/ 22776 h 51323"/>
                <a:gd name="connsiteX1236" fmla="*/ 34078 w 51323"/>
                <a:gd name="connsiteY1236" fmla="*/ 22518 h 51323"/>
                <a:gd name="connsiteX1237" fmla="*/ 34078 w 51323"/>
                <a:gd name="connsiteY1237" fmla="*/ 22656 h 51323"/>
                <a:gd name="connsiteX1238" fmla="*/ 33975 w 51323"/>
                <a:gd name="connsiteY1238" fmla="*/ 22398 h 51323"/>
                <a:gd name="connsiteX1239" fmla="*/ 33855 w 51323"/>
                <a:gd name="connsiteY1239" fmla="*/ 22089 h 51323"/>
                <a:gd name="connsiteX1240" fmla="*/ 34353 w 51323"/>
                <a:gd name="connsiteY1240" fmla="*/ 22089 h 51323"/>
                <a:gd name="connsiteX1241" fmla="*/ 33958 w 51323"/>
                <a:gd name="connsiteY1241" fmla="*/ 22089 h 51323"/>
                <a:gd name="connsiteX1242" fmla="*/ 33786 w 51323"/>
                <a:gd name="connsiteY1242" fmla="*/ 22089 h 51323"/>
                <a:gd name="connsiteX1243" fmla="*/ 33065 w 51323"/>
                <a:gd name="connsiteY1243" fmla="*/ 21316 h 51323"/>
                <a:gd name="connsiteX1244" fmla="*/ 33065 w 51323"/>
                <a:gd name="connsiteY1244" fmla="*/ 20732 h 51323"/>
                <a:gd name="connsiteX1245" fmla="*/ 32584 w 51323"/>
                <a:gd name="connsiteY1245" fmla="*/ 20320 h 51323"/>
                <a:gd name="connsiteX1246" fmla="*/ 32275 w 51323"/>
                <a:gd name="connsiteY1246" fmla="*/ 20320 h 51323"/>
                <a:gd name="connsiteX1247" fmla="*/ 32395 w 51323"/>
                <a:gd name="connsiteY1247" fmla="*/ 20320 h 51323"/>
                <a:gd name="connsiteX1248" fmla="*/ 31931 w 51323"/>
                <a:gd name="connsiteY1248" fmla="*/ 20131 h 51323"/>
                <a:gd name="connsiteX1249" fmla="*/ 31742 w 51323"/>
                <a:gd name="connsiteY1249" fmla="*/ 19856 h 51323"/>
                <a:gd name="connsiteX1250" fmla="*/ 31175 w 51323"/>
                <a:gd name="connsiteY1250" fmla="*/ 19633 h 51323"/>
                <a:gd name="connsiteX1251" fmla="*/ 31175 w 51323"/>
                <a:gd name="connsiteY1251" fmla="*/ 19306 h 51323"/>
                <a:gd name="connsiteX1252" fmla="*/ 30746 w 51323"/>
                <a:gd name="connsiteY1252" fmla="*/ 19427 h 51323"/>
                <a:gd name="connsiteX1253" fmla="*/ 31656 w 51323"/>
                <a:gd name="connsiteY1253" fmla="*/ 20681 h 51323"/>
                <a:gd name="connsiteX1254" fmla="*/ 31983 w 51323"/>
                <a:gd name="connsiteY1254" fmla="*/ 20887 h 51323"/>
                <a:gd name="connsiteX1255" fmla="*/ 32807 w 51323"/>
                <a:gd name="connsiteY1255" fmla="*/ 21539 h 51323"/>
                <a:gd name="connsiteX1256" fmla="*/ 32532 w 51323"/>
                <a:gd name="connsiteY1256" fmla="*/ 21333 h 51323"/>
                <a:gd name="connsiteX1257" fmla="*/ 32309 w 51323"/>
                <a:gd name="connsiteY1257" fmla="*/ 21625 h 51323"/>
                <a:gd name="connsiteX1258" fmla="*/ 32309 w 51323"/>
                <a:gd name="connsiteY1258" fmla="*/ 22141 h 51323"/>
                <a:gd name="connsiteX1259" fmla="*/ 32086 w 51323"/>
                <a:gd name="connsiteY1259" fmla="*/ 22141 h 51323"/>
                <a:gd name="connsiteX1260" fmla="*/ 31794 w 51323"/>
                <a:gd name="connsiteY1260" fmla="*/ 21402 h 51323"/>
                <a:gd name="connsiteX1261" fmla="*/ 31656 w 51323"/>
                <a:gd name="connsiteY1261" fmla="*/ 21230 h 51323"/>
                <a:gd name="connsiteX1262" fmla="*/ 31330 w 51323"/>
                <a:gd name="connsiteY1262" fmla="*/ 21024 h 51323"/>
                <a:gd name="connsiteX1263" fmla="*/ 29080 w 51323"/>
                <a:gd name="connsiteY1263" fmla="*/ 20217 h 51323"/>
                <a:gd name="connsiteX1264" fmla="*/ 28633 w 51323"/>
                <a:gd name="connsiteY1264" fmla="*/ 20114 h 51323"/>
                <a:gd name="connsiteX1265" fmla="*/ 27448 w 51323"/>
                <a:gd name="connsiteY1265" fmla="*/ 21093 h 51323"/>
                <a:gd name="connsiteX1266" fmla="*/ 27448 w 51323"/>
                <a:gd name="connsiteY1266" fmla="*/ 21213 h 51323"/>
                <a:gd name="connsiteX1267" fmla="*/ 27191 w 51323"/>
                <a:gd name="connsiteY1267" fmla="*/ 22003 h 51323"/>
                <a:gd name="connsiteX1268" fmla="*/ 26847 w 51323"/>
                <a:gd name="connsiteY1268" fmla="*/ 22398 h 51323"/>
                <a:gd name="connsiteX1269" fmla="*/ 25421 w 51323"/>
                <a:gd name="connsiteY1269" fmla="*/ 22896 h 51323"/>
                <a:gd name="connsiteX1270" fmla="*/ 24700 w 51323"/>
                <a:gd name="connsiteY1270" fmla="*/ 22501 h 51323"/>
                <a:gd name="connsiteX1271" fmla="*/ 24408 w 51323"/>
                <a:gd name="connsiteY1271" fmla="*/ 22501 h 51323"/>
                <a:gd name="connsiteX1272" fmla="*/ 24511 w 51323"/>
                <a:gd name="connsiteY1272" fmla="*/ 21934 h 51323"/>
                <a:gd name="connsiteX1273" fmla="*/ 24511 w 51323"/>
                <a:gd name="connsiteY1273" fmla="*/ 21763 h 51323"/>
                <a:gd name="connsiteX1274" fmla="*/ 24631 w 51323"/>
                <a:gd name="connsiteY1274" fmla="*/ 21144 h 51323"/>
                <a:gd name="connsiteX1275" fmla="*/ 24734 w 51323"/>
                <a:gd name="connsiteY1275" fmla="*/ 20457 h 51323"/>
                <a:gd name="connsiteX1276" fmla="*/ 24734 w 51323"/>
                <a:gd name="connsiteY1276" fmla="*/ 20457 h 51323"/>
                <a:gd name="connsiteX1277" fmla="*/ 24734 w 51323"/>
                <a:gd name="connsiteY1277" fmla="*/ 20337 h 51323"/>
                <a:gd name="connsiteX1278" fmla="*/ 24734 w 51323"/>
                <a:gd name="connsiteY1278" fmla="*/ 20234 h 51323"/>
                <a:gd name="connsiteX1279" fmla="*/ 25026 w 51323"/>
                <a:gd name="connsiteY1279" fmla="*/ 20045 h 51323"/>
                <a:gd name="connsiteX1280" fmla="*/ 25490 w 51323"/>
                <a:gd name="connsiteY1280" fmla="*/ 20045 h 51323"/>
                <a:gd name="connsiteX1281" fmla="*/ 26607 w 51323"/>
                <a:gd name="connsiteY1281" fmla="*/ 20131 h 51323"/>
                <a:gd name="connsiteX1282" fmla="*/ 27276 w 51323"/>
                <a:gd name="connsiteY1282" fmla="*/ 19564 h 51323"/>
                <a:gd name="connsiteX1283" fmla="*/ 27053 w 51323"/>
                <a:gd name="connsiteY1283" fmla="*/ 19289 h 51323"/>
                <a:gd name="connsiteX1284" fmla="*/ 26813 w 51323"/>
                <a:gd name="connsiteY1284" fmla="*/ 18860 h 51323"/>
                <a:gd name="connsiteX1285" fmla="*/ 26950 w 51323"/>
                <a:gd name="connsiteY1285" fmla="*/ 18722 h 51323"/>
                <a:gd name="connsiteX1286" fmla="*/ 26727 w 51323"/>
                <a:gd name="connsiteY1286" fmla="*/ 18551 h 51323"/>
                <a:gd name="connsiteX1287" fmla="*/ 26229 w 51323"/>
                <a:gd name="connsiteY1287" fmla="*/ 18465 h 51323"/>
                <a:gd name="connsiteX1288" fmla="*/ 26229 w 51323"/>
                <a:gd name="connsiteY1288" fmla="*/ 18345 h 51323"/>
                <a:gd name="connsiteX1289" fmla="*/ 26229 w 51323"/>
                <a:gd name="connsiteY1289" fmla="*/ 18345 h 51323"/>
                <a:gd name="connsiteX1290" fmla="*/ 26229 w 51323"/>
                <a:gd name="connsiteY1290" fmla="*/ 18345 h 51323"/>
                <a:gd name="connsiteX1291" fmla="*/ 26555 w 51323"/>
                <a:gd name="connsiteY1291" fmla="*/ 18121 h 51323"/>
                <a:gd name="connsiteX1292" fmla="*/ 27019 w 51323"/>
                <a:gd name="connsiteY1292" fmla="*/ 18241 h 51323"/>
                <a:gd name="connsiteX1293" fmla="*/ 26899 w 51323"/>
                <a:gd name="connsiteY1293" fmla="*/ 17812 h 51323"/>
                <a:gd name="connsiteX1294" fmla="*/ 27105 w 51323"/>
                <a:gd name="connsiteY1294" fmla="*/ 17812 h 51323"/>
                <a:gd name="connsiteX1295" fmla="*/ 27500 w 51323"/>
                <a:gd name="connsiteY1295" fmla="*/ 17812 h 51323"/>
                <a:gd name="connsiteX1296" fmla="*/ 27775 w 51323"/>
                <a:gd name="connsiteY1296" fmla="*/ 17606 h 51323"/>
                <a:gd name="connsiteX1297" fmla="*/ 27895 w 51323"/>
                <a:gd name="connsiteY1297" fmla="*/ 17280 h 51323"/>
                <a:gd name="connsiteX1298" fmla="*/ 28444 w 51323"/>
                <a:gd name="connsiteY1298" fmla="*/ 17125 h 51323"/>
                <a:gd name="connsiteX1299" fmla="*/ 28444 w 51323"/>
                <a:gd name="connsiteY1299" fmla="*/ 17125 h 51323"/>
                <a:gd name="connsiteX1300" fmla="*/ 28547 w 51323"/>
                <a:gd name="connsiteY1300" fmla="*/ 17022 h 51323"/>
                <a:gd name="connsiteX1301" fmla="*/ 29286 w 51323"/>
                <a:gd name="connsiteY1301" fmla="*/ 16438 h 51323"/>
                <a:gd name="connsiteX1302" fmla="*/ 29458 w 51323"/>
                <a:gd name="connsiteY1302" fmla="*/ 16438 h 51323"/>
                <a:gd name="connsiteX1303" fmla="*/ 29595 w 51323"/>
                <a:gd name="connsiteY1303" fmla="*/ 16438 h 51323"/>
                <a:gd name="connsiteX1304" fmla="*/ 29956 w 51323"/>
                <a:gd name="connsiteY1304" fmla="*/ 16301 h 51323"/>
                <a:gd name="connsiteX1305" fmla="*/ 29389 w 51323"/>
                <a:gd name="connsiteY1305" fmla="*/ 15115 h 51323"/>
                <a:gd name="connsiteX1306" fmla="*/ 29664 w 51323"/>
                <a:gd name="connsiteY1306" fmla="*/ 15115 h 51323"/>
                <a:gd name="connsiteX1307" fmla="*/ 30025 w 51323"/>
                <a:gd name="connsiteY1307" fmla="*/ 15115 h 51323"/>
                <a:gd name="connsiteX1308" fmla="*/ 29922 w 51323"/>
                <a:gd name="connsiteY1308" fmla="*/ 16009 h 51323"/>
                <a:gd name="connsiteX1309" fmla="*/ 30059 w 51323"/>
                <a:gd name="connsiteY1309" fmla="*/ 16094 h 51323"/>
                <a:gd name="connsiteX1310" fmla="*/ 30883 w 51323"/>
                <a:gd name="connsiteY1310" fmla="*/ 16094 h 51323"/>
                <a:gd name="connsiteX1311" fmla="*/ 32103 w 51323"/>
                <a:gd name="connsiteY1311" fmla="*/ 15768 h 51323"/>
                <a:gd name="connsiteX1312" fmla="*/ 32326 w 51323"/>
                <a:gd name="connsiteY1312" fmla="*/ 15768 h 51323"/>
                <a:gd name="connsiteX1313" fmla="*/ 32189 w 51323"/>
                <a:gd name="connsiteY1313" fmla="*/ 15905 h 51323"/>
                <a:gd name="connsiteX1314" fmla="*/ 32704 w 51323"/>
                <a:gd name="connsiteY1314" fmla="*/ 14497 h 51323"/>
                <a:gd name="connsiteX1315" fmla="*/ 33031 w 51323"/>
                <a:gd name="connsiteY1315" fmla="*/ 14222 h 51323"/>
                <a:gd name="connsiteX1316" fmla="*/ 32842 w 51323"/>
                <a:gd name="connsiteY1316" fmla="*/ 14068 h 51323"/>
                <a:gd name="connsiteX1317" fmla="*/ 32842 w 51323"/>
                <a:gd name="connsiteY1317" fmla="*/ 13690 h 51323"/>
                <a:gd name="connsiteX1318" fmla="*/ 32979 w 51323"/>
                <a:gd name="connsiteY1318" fmla="*/ 13690 h 51323"/>
                <a:gd name="connsiteX1319" fmla="*/ 33615 w 51323"/>
                <a:gd name="connsiteY1319" fmla="*/ 13793 h 51323"/>
                <a:gd name="connsiteX1320" fmla="*/ 33752 w 51323"/>
                <a:gd name="connsiteY1320" fmla="*/ 13466 h 51323"/>
                <a:gd name="connsiteX1321" fmla="*/ 33546 w 51323"/>
                <a:gd name="connsiteY1321" fmla="*/ 13192 h 51323"/>
                <a:gd name="connsiteX1322" fmla="*/ 33408 w 51323"/>
                <a:gd name="connsiteY1322" fmla="*/ 13192 h 51323"/>
                <a:gd name="connsiteX1323" fmla="*/ 33031 w 51323"/>
                <a:gd name="connsiteY1323" fmla="*/ 13312 h 51323"/>
                <a:gd name="connsiteX1324" fmla="*/ 33031 w 51323"/>
                <a:gd name="connsiteY1324" fmla="*/ 13312 h 51323"/>
                <a:gd name="connsiteX1325" fmla="*/ 33031 w 51323"/>
                <a:gd name="connsiteY1325" fmla="*/ 13312 h 51323"/>
                <a:gd name="connsiteX1326" fmla="*/ 32567 w 51323"/>
                <a:gd name="connsiteY1326" fmla="*/ 13621 h 51323"/>
                <a:gd name="connsiteX1327" fmla="*/ 32172 w 51323"/>
                <a:gd name="connsiteY1327" fmla="*/ 13260 h 51323"/>
                <a:gd name="connsiteX1328" fmla="*/ 31914 w 51323"/>
                <a:gd name="connsiteY1328" fmla="*/ 12058 h 51323"/>
                <a:gd name="connsiteX1329" fmla="*/ 32017 w 51323"/>
                <a:gd name="connsiteY1329" fmla="*/ 12058 h 51323"/>
                <a:gd name="connsiteX1330" fmla="*/ 32017 w 51323"/>
                <a:gd name="connsiteY1330" fmla="*/ 11817 h 51323"/>
                <a:gd name="connsiteX1331" fmla="*/ 32309 w 51323"/>
                <a:gd name="connsiteY1331" fmla="*/ 11457 h 51323"/>
                <a:gd name="connsiteX1332" fmla="*/ 31502 w 51323"/>
                <a:gd name="connsiteY1332" fmla="*/ 11182 h 51323"/>
                <a:gd name="connsiteX1333" fmla="*/ 31656 w 51323"/>
                <a:gd name="connsiteY1333" fmla="*/ 11714 h 51323"/>
                <a:gd name="connsiteX1334" fmla="*/ 31038 w 51323"/>
                <a:gd name="connsiteY1334" fmla="*/ 12590 h 51323"/>
                <a:gd name="connsiteX1335" fmla="*/ 31175 w 51323"/>
                <a:gd name="connsiteY1335" fmla="*/ 12968 h 51323"/>
                <a:gd name="connsiteX1336" fmla="*/ 31382 w 51323"/>
                <a:gd name="connsiteY1336" fmla="*/ 13793 h 51323"/>
                <a:gd name="connsiteX1337" fmla="*/ 31210 w 51323"/>
                <a:gd name="connsiteY1337" fmla="*/ 13913 h 51323"/>
                <a:gd name="connsiteX1338" fmla="*/ 31485 w 51323"/>
                <a:gd name="connsiteY1338" fmla="*/ 14050 h 51323"/>
                <a:gd name="connsiteX1339" fmla="*/ 31364 w 51323"/>
                <a:gd name="connsiteY1339" fmla="*/ 14188 h 51323"/>
                <a:gd name="connsiteX1340" fmla="*/ 31364 w 51323"/>
                <a:gd name="connsiteY1340" fmla="*/ 14342 h 51323"/>
                <a:gd name="connsiteX1341" fmla="*/ 31364 w 51323"/>
                <a:gd name="connsiteY1341" fmla="*/ 14514 h 51323"/>
                <a:gd name="connsiteX1342" fmla="*/ 31090 w 51323"/>
                <a:gd name="connsiteY1342" fmla="*/ 15236 h 51323"/>
                <a:gd name="connsiteX1343" fmla="*/ 30162 w 51323"/>
                <a:gd name="connsiteY1343" fmla="*/ 14050 h 51323"/>
                <a:gd name="connsiteX1344" fmla="*/ 29939 w 51323"/>
                <a:gd name="connsiteY1344" fmla="*/ 13810 h 51323"/>
                <a:gd name="connsiteX1345" fmla="*/ 29939 w 51323"/>
                <a:gd name="connsiteY1345" fmla="*/ 14102 h 51323"/>
                <a:gd name="connsiteX1346" fmla="*/ 29733 w 51323"/>
                <a:gd name="connsiteY1346" fmla="*/ 13965 h 51323"/>
                <a:gd name="connsiteX1347" fmla="*/ 29595 w 51323"/>
                <a:gd name="connsiteY1347" fmla="*/ 14291 h 51323"/>
                <a:gd name="connsiteX1348" fmla="*/ 29183 w 51323"/>
                <a:gd name="connsiteY1348" fmla="*/ 14428 h 51323"/>
                <a:gd name="connsiteX1349" fmla="*/ 29183 w 51323"/>
                <a:gd name="connsiteY1349" fmla="*/ 14102 h 51323"/>
                <a:gd name="connsiteX1350" fmla="*/ 29011 w 51323"/>
                <a:gd name="connsiteY1350" fmla="*/ 13879 h 51323"/>
                <a:gd name="connsiteX1351" fmla="*/ 29011 w 51323"/>
                <a:gd name="connsiteY1351" fmla="*/ 13879 h 51323"/>
                <a:gd name="connsiteX1352" fmla="*/ 29166 w 51323"/>
                <a:gd name="connsiteY1352" fmla="*/ 13776 h 51323"/>
                <a:gd name="connsiteX1353" fmla="*/ 29166 w 51323"/>
                <a:gd name="connsiteY1353" fmla="*/ 13655 h 51323"/>
                <a:gd name="connsiteX1354" fmla="*/ 29164 w 51323"/>
                <a:gd name="connsiteY1354" fmla="*/ 13485 h 51323"/>
                <a:gd name="connsiteX1355" fmla="*/ 29166 w 51323"/>
                <a:gd name="connsiteY1355" fmla="*/ 13484 h 51323"/>
                <a:gd name="connsiteX1356" fmla="*/ 28943 w 51323"/>
                <a:gd name="connsiteY1356" fmla="*/ 13484 h 51323"/>
                <a:gd name="connsiteX1357" fmla="*/ 28943 w 51323"/>
                <a:gd name="connsiteY1357" fmla="*/ 13381 h 51323"/>
                <a:gd name="connsiteX1358" fmla="*/ 29355 w 51323"/>
                <a:gd name="connsiteY1358" fmla="*/ 13157 h 51323"/>
                <a:gd name="connsiteX1359" fmla="*/ 28994 w 51323"/>
                <a:gd name="connsiteY1359" fmla="*/ 13157 h 51323"/>
                <a:gd name="connsiteX1360" fmla="*/ 29183 w 51323"/>
                <a:gd name="connsiteY1360" fmla="*/ 13020 h 51323"/>
                <a:gd name="connsiteX1361" fmla="*/ 29046 w 51323"/>
                <a:gd name="connsiteY1361" fmla="*/ 12917 h 51323"/>
                <a:gd name="connsiteX1362" fmla="*/ 29183 w 51323"/>
                <a:gd name="connsiteY1362" fmla="*/ 12917 h 51323"/>
                <a:gd name="connsiteX1363" fmla="*/ 29183 w 51323"/>
                <a:gd name="connsiteY1363" fmla="*/ 12797 h 51323"/>
                <a:gd name="connsiteX1364" fmla="*/ 29441 w 51323"/>
                <a:gd name="connsiteY1364" fmla="*/ 12797 h 51323"/>
                <a:gd name="connsiteX1365" fmla="*/ 29578 w 51323"/>
                <a:gd name="connsiteY1365" fmla="*/ 12797 h 51323"/>
                <a:gd name="connsiteX1366" fmla="*/ 29578 w 51323"/>
                <a:gd name="connsiteY1366" fmla="*/ 12676 h 51323"/>
                <a:gd name="connsiteX1367" fmla="*/ 29767 w 51323"/>
                <a:gd name="connsiteY1367" fmla="*/ 12676 h 51323"/>
                <a:gd name="connsiteX1368" fmla="*/ 30059 w 51323"/>
                <a:gd name="connsiteY1368" fmla="*/ 12298 h 51323"/>
                <a:gd name="connsiteX1369" fmla="*/ 29801 w 51323"/>
                <a:gd name="connsiteY1369" fmla="*/ 12419 h 51323"/>
                <a:gd name="connsiteX1370" fmla="*/ 29801 w 51323"/>
                <a:gd name="connsiteY1370" fmla="*/ 12195 h 51323"/>
                <a:gd name="connsiteX1371" fmla="*/ 30145 w 51323"/>
                <a:gd name="connsiteY1371" fmla="*/ 11766 h 51323"/>
                <a:gd name="connsiteX1372" fmla="*/ 30145 w 51323"/>
                <a:gd name="connsiteY1372" fmla="*/ 11611 h 51323"/>
                <a:gd name="connsiteX1373" fmla="*/ 30145 w 51323"/>
                <a:gd name="connsiteY1373" fmla="*/ 11525 h 51323"/>
                <a:gd name="connsiteX1374" fmla="*/ 30145 w 51323"/>
                <a:gd name="connsiteY1374" fmla="*/ 11337 h 51323"/>
                <a:gd name="connsiteX1375" fmla="*/ 30025 w 51323"/>
                <a:gd name="connsiteY1375" fmla="*/ 11148 h 51323"/>
                <a:gd name="connsiteX1376" fmla="*/ 30334 w 51323"/>
                <a:gd name="connsiteY1376" fmla="*/ 10976 h 51323"/>
                <a:gd name="connsiteX1377" fmla="*/ 30334 w 51323"/>
                <a:gd name="connsiteY1377" fmla="*/ 10838 h 51323"/>
                <a:gd name="connsiteX1378" fmla="*/ 30334 w 51323"/>
                <a:gd name="connsiteY1378" fmla="*/ 10684 h 51323"/>
                <a:gd name="connsiteX1379" fmla="*/ 30334 w 51323"/>
                <a:gd name="connsiteY1379" fmla="*/ 10478 h 51323"/>
                <a:gd name="connsiteX1380" fmla="*/ 30506 w 51323"/>
                <a:gd name="connsiteY1380" fmla="*/ 10478 h 51323"/>
                <a:gd name="connsiteX1381" fmla="*/ 30506 w 51323"/>
                <a:gd name="connsiteY1381" fmla="*/ 10323 h 51323"/>
                <a:gd name="connsiteX1382" fmla="*/ 30506 w 51323"/>
                <a:gd name="connsiteY1382" fmla="*/ 10220 h 51323"/>
                <a:gd name="connsiteX1383" fmla="*/ 30609 w 51323"/>
                <a:gd name="connsiteY1383" fmla="*/ 10117 h 51323"/>
                <a:gd name="connsiteX1384" fmla="*/ 30609 w 51323"/>
                <a:gd name="connsiteY1384" fmla="*/ 10117 h 51323"/>
                <a:gd name="connsiteX1385" fmla="*/ 30609 w 51323"/>
                <a:gd name="connsiteY1385" fmla="*/ 10117 h 51323"/>
                <a:gd name="connsiteX1386" fmla="*/ 30609 w 51323"/>
                <a:gd name="connsiteY1386" fmla="*/ 10117 h 51323"/>
                <a:gd name="connsiteX1387" fmla="*/ 30798 w 51323"/>
                <a:gd name="connsiteY1387" fmla="*/ 10117 h 51323"/>
                <a:gd name="connsiteX1388" fmla="*/ 30798 w 51323"/>
                <a:gd name="connsiteY1388" fmla="*/ 9739 h 51323"/>
                <a:gd name="connsiteX1389" fmla="*/ 31124 w 51323"/>
                <a:gd name="connsiteY1389" fmla="*/ 9894 h 51323"/>
                <a:gd name="connsiteX1390" fmla="*/ 31124 w 51323"/>
                <a:gd name="connsiteY1390" fmla="*/ 9619 h 51323"/>
                <a:gd name="connsiteX1391" fmla="*/ 31124 w 51323"/>
                <a:gd name="connsiteY1391" fmla="*/ 9619 h 51323"/>
                <a:gd name="connsiteX1392" fmla="*/ 31124 w 51323"/>
                <a:gd name="connsiteY1392" fmla="*/ 9619 h 51323"/>
                <a:gd name="connsiteX1393" fmla="*/ 31261 w 51323"/>
                <a:gd name="connsiteY1393" fmla="*/ 9619 h 51323"/>
                <a:gd name="connsiteX1394" fmla="*/ 31450 w 51323"/>
                <a:gd name="connsiteY1394" fmla="*/ 9499 h 51323"/>
                <a:gd name="connsiteX1395" fmla="*/ 31553 w 51323"/>
                <a:gd name="connsiteY1395" fmla="*/ 9842 h 51323"/>
                <a:gd name="connsiteX1396" fmla="*/ 31674 w 51323"/>
                <a:gd name="connsiteY1396" fmla="*/ 9842 h 51323"/>
                <a:gd name="connsiteX1397" fmla="*/ 31845 w 51323"/>
                <a:gd name="connsiteY1397" fmla="*/ 9842 h 51323"/>
                <a:gd name="connsiteX1398" fmla="*/ 31742 w 51323"/>
                <a:gd name="connsiteY1398" fmla="*/ 10031 h 51323"/>
                <a:gd name="connsiteX1399" fmla="*/ 32000 w 51323"/>
                <a:gd name="connsiteY1399" fmla="*/ 10220 h 51323"/>
                <a:gd name="connsiteX1400" fmla="*/ 32275 w 51323"/>
                <a:gd name="connsiteY1400" fmla="*/ 10220 h 51323"/>
                <a:gd name="connsiteX1401" fmla="*/ 32275 w 51323"/>
                <a:gd name="connsiteY1401" fmla="*/ 10048 h 51323"/>
                <a:gd name="connsiteX1402" fmla="*/ 32378 w 51323"/>
                <a:gd name="connsiteY1402" fmla="*/ 10048 h 51323"/>
                <a:gd name="connsiteX1403" fmla="*/ 32584 w 51323"/>
                <a:gd name="connsiteY1403" fmla="*/ 10220 h 51323"/>
                <a:gd name="connsiteX1404" fmla="*/ 33683 w 51323"/>
                <a:gd name="connsiteY1404" fmla="*/ 10529 h 51323"/>
                <a:gd name="connsiteX1405" fmla="*/ 33804 w 51323"/>
                <a:gd name="connsiteY1405" fmla="*/ 10529 h 51323"/>
                <a:gd name="connsiteX1406" fmla="*/ 33597 w 51323"/>
                <a:gd name="connsiteY1406" fmla="*/ 11354 h 51323"/>
                <a:gd name="connsiteX1407" fmla="*/ 33426 w 51323"/>
                <a:gd name="connsiteY1407" fmla="*/ 11354 h 51323"/>
                <a:gd name="connsiteX1408" fmla="*/ 33065 w 51323"/>
                <a:gd name="connsiteY1408" fmla="*/ 11354 h 51323"/>
                <a:gd name="connsiteX1409" fmla="*/ 33357 w 51323"/>
                <a:gd name="connsiteY1409" fmla="*/ 11663 h 51323"/>
                <a:gd name="connsiteX1410" fmla="*/ 34576 w 51323"/>
                <a:gd name="connsiteY1410" fmla="*/ 12333 h 51323"/>
                <a:gd name="connsiteX1411" fmla="*/ 34250 w 51323"/>
                <a:gd name="connsiteY1411" fmla="*/ 12006 h 51323"/>
                <a:gd name="connsiteX1412" fmla="*/ 34972 w 51323"/>
                <a:gd name="connsiteY1412" fmla="*/ 11474 h 51323"/>
                <a:gd name="connsiteX1413" fmla="*/ 35143 w 51323"/>
                <a:gd name="connsiteY1413" fmla="*/ 11474 h 51323"/>
                <a:gd name="connsiteX1414" fmla="*/ 34181 w 51323"/>
                <a:gd name="connsiteY1414" fmla="*/ 10340 h 51323"/>
                <a:gd name="connsiteX1415" fmla="*/ 34800 w 51323"/>
                <a:gd name="connsiteY1415" fmla="*/ 10753 h 51323"/>
                <a:gd name="connsiteX1416" fmla="*/ 35143 w 51323"/>
                <a:gd name="connsiteY1416" fmla="*/ 10529 h 51323"/>
                <a:gd name="connsiteX1417" fmla="*/ 35401 w 51323"/>
                <a:gd name="connsiteY1417" fmla="*/ 10289 h 51323"/>
                <a:gd name="connsiteX1418" fmla="*/ 35401 w 51323"/>
                <a:gd name="connsiteY1418" fmla="*/ 10151 h 51323"/>
                <a:gd name="connsiteX1419" fmla="*/ 35727 w 51323"/>
                <a:gd name="connsiteY1419" fmla="*/ 10306 h 51323"/>
                <a:gd name="connsiteX1420" fmla="*/ 35727 w 51323"/>
                <a:gd name="connsiteY1420" fmla="*/ 10306 h 51323"/>
                <a:gd name="connsiteX1421" fmla="*/ 35830 w 51323"/>
                <a:gd name="connsiteY1421" fmla="*/ 9842 h 51323"/>
                <a:gd name="connsiteX1422" fmla="*/ 36019 w 51323"/>
                <a:gd name="connsiteY1422" fmla="*/ 9945 h 51323"/>
                <a:gd name="connsiteX1423" fmla="*/ 36122 w 51323"/>
                <a:gd name="connsiteY1423" fmla="*/ 9945 h 51323"/>
                <a:gd name="connsiteX1424" fmla="*/ 35848 w 51323"/>
                <a:gd name="connsiteY1424" fmla="*/ 9773 h 51323"/>
                <a:gd name="connsiteX1425" fmla="*/ 35848 w 51323"/>
                <a:gd name="connsiteY1425" fmla="*/ 9773 h 51323"/>
                <a:gd name="connsiteX1426" fmla="*/ 36981 w 51323"/>
                <a:gd name="connsiteY1426" fmla="*/ 9894 h 51323"/>
                <a:gd name="connsiteX1427" fmla="*/ 36260 w 51323"/>
                <a:gd name="connsiteY1427" fmla="*/ 9361 h 51323"/>
                <a:gd name="connsiteX1428" fmla="*/ 36260 w 51323"/>
                <a:gd name="connsiteY1428" fmla="*/ 9361 h 51323"/>
                <a:gd name="connsiteX1429" fmla="*/ 36140 w 51323"/>
                <a:gd name="connsiteY1429" fmla="*/ 9361 h 51323"/>
                <a:gd name="connsiteX1430" fmla="*/ 36140 w 51323"/>
                <a:gd name="connsiteY1430" fmla="*/ 9361 h 51323"/>
                <a:gd name="connsiteX1431" fmla="*/ 35882 w 51323"/>
                <a:gd name="connsiteY1431" fmla="*/ 9155 h 51323"/>
                <a:gd name="connsiteX1432" fmla="*/ 35727 w 51323"/>
                <a:gd name="connsiteY1432" fmla="*/ 8983 h 51323"/>
                <a:gd name="connsiteX1433" fmla="*/ 34594 w 51323"/>
                <a:gd name="connsiteY1433" fmla="*/ 7884 h 51323"/>
                <a:gd name="connsiteX1434" fmla="*/ 37136 w 51323"/>
                <a:gd name="connsiteY1434" fmla="*/ 9602 h 51323"/>
                <a:gd name="connsiteX1435" fmla="*/ 37136 w 51323"/>
                <a:gd name="connsiteY1435" fmla="*/ 9602 h 51323"/>
                <a:gd name="connsiteX1436" fmla="*/ 37806 w 51323"/>
                <a:gd name="connsiteY1436" fmla="*/ 10289 h 51323"/>
                <a:gd name="connsiteX1437" fmla="*/ 37806 w 51323"/>
                <a:gd name="connsiteY1437" fmla="*/ 10289 h 51323"/>
                <a:gd name="connsiteX1438" fmla="*/ 37806 w 51323"/>
                <a:gd name="connsiteY1438" fmla="*/ 10289 h 51323"/>
                <a:gd name="connsiteX1439" fmla="*/ 37703 w 51323"/>
                <a:gd name="connsiteY1439" fmla="*/ 10426 h 51323"/>
                <a:gd name="connsiteX1440" fmla="*/ 37101 w 51323"/>
                <a:gd name="connsiteY1440" fmla="*/ 9275 h 51323"/>
                <a:gd name="connsiteX1441" fmla="*/ 37101 w 51323"/>
                <a:gd name="connsiteY1441" fmla="*/ 9275 h 51323"/>
                <a:gd name="connsiteX1442" fmla="*/ 34851 w 51323"/>
                <a:gd name="connsiteY1442" fmla="*/ 7850 h 51323"/>
                <a:gd name="connsiteX1443" fmla="*/ 35933 w 51323"/>
                <a:gd name="connsiteY1443" fmla="*/ 8451 h 51323"/>
                <a:gd name="connsiteX1444" fmla="*/ 36105 w 51323"/>
                <a:gd name="connsiteY1444" fmla="*/ 8451 h 51323"/>
                <a:gd name="connsiteX1445" fmla="*/ 35367 w 51323"/>
                <a:gd name="connsiteY1445" fmla="*/ 8125 h 51323"/>
                <a:gd name="connsiteX1446" fmla="*/ 35367 w 51323"/>
                <a:gd name="connsiteY1446" fmla="*/ 8039 h 51323"/>
                <a:gd name="connsiteX1447" fmla="*/ 35367 w 51323"/>
                <a:gd name="connsiteY1447" fmla="*/ 8039 h 51323"/>
                <a:gd name="connsiteX1448" fmla="*/ 36363 w 51323"/>
                <a:gd name="connsiteY1448" fmla="*/ 8331 h 51323"/>
                <a:gd name="connsiteX1449" fmla="*/ 37256 w 51323"/>
                <a:gd name="connsiteY1449" fmla="*/ 8812 h 51323"/>
                <a:gd name="connsiteX1450" fmla="*/ 37428 w 51323"/>
                <a:gd name="connsiteY1450" fmla="*/ 8812 h 51323"/>
                <a:gd name="connsiteX1451" fmla="*/ 37101 w 51323"/>
                <a:gd name="connsiteY1451" fmla="*/ 8709 h 51323"/>
                <a:gd name="connsiteX1452" fmla="*/ 35384 w 51323"/>
                <a:gd name="connsiteY1452" fmla="*/ 7798 h 51323"/>
                <a:gd name="connsiteX1453" fmla="*/ 34525 w 51323"/>
                <a:gd name="connsiteY1453" fmla="*/ 7231 h 51323"/>
                <a:gd name="connsiteX1454" fmla="*/ 34851 w 51323"/>
                <a:gd name="connsiteY1454" fmla="*/ 7317 h 51323"/>
                <a:gd name="connsiteX1455" fmla="*/ 34267 w 51323"/>
                <a:gd name="connsiteY1455" fmla="*/ 7008 h 51323"/>
                <a:gd name="connsiteX1456" fmla="*/ 34027 w 51323"/>
                <a:gd name="connsiteY1456" fmla="*/ 6922 h 51323"/>
                <a:gd name="connsiteX1457" fmla="*/ 34027 w 51323"/>
                <a:gd name="connsiteY1457" fmla="*/ 6922 h 51323"/>
                <a:gd name="connsiteX1458" fmla="*/ 33872 w 51323"/>
                <a:gd name="connsiteY1458" fmla="*/ 6922 h 51323"/>
                <a:gd name="connsiteX1459" fmla="*/ 33872 w 51323"/>
                <a:gd name="connsiteY1459" fmla="*/ 6922 h 51323"/>
                <a:gd name="connsiteX1460" fmla="*/ 33615 w 51323"/>
                <a:gd name="connsiteY1460" fmla="*/ 6768 h 51323"/>
                <a:gd name="connsiteX1461" fmla="*/ 33615 w 51323"/>
                <a:gd name="connsiteY1461" fmla="*/ 6768 h 51323"/>
                <a:gd name="connsiteX1462" fmla="*/ 33168 w 51323"/>
                <a:gd name="connsiteY1462" fmla="*/ 6458 h 51323"/>
                <a:gd name="connsiteX1463" fmla="*/ 33168 w 51323"/>
                <a:gd name="connsiteY1463" fmla="*/ 6458 h 51323"/>
                <a:gd name="connsiteX1464" fmla="*/ 32910 w 51323"/>
                <a:gd name="connsiteY1464" fmla="*/ 6287 h 51323"/>
                <a:gd name="connsiteX1465" fmla="*/ 32910 w 51323"/>
                <a:gd name="connsiteY1465" fmla="*/ 6287 h 51323"/>
                <a:gd name="connsiteX1466" fmla="*/ 32910 w 51323"/>
                <a:gd name="connsiteY1466" fmla="*/ 6287 h 51323"/>
                <a:gd name="connsiteX1467" fmla="*/ 32910 w 51323"/>
                <a:gd name="connsiteY1467" fmla="*/ 6287 h 51323"/>
                <a:gd name="connsiteX1468" fmla="*/ 32687 w 51323"/>
                <a:gd name="connsiteY1468" fmla="*/ 6184 h 51323"/>
                <a:gd name="connsiteX1469" fmla="*/ 32687 w 51323"/>
                <a:gd name="connsiteY1469" fmla="*/ 6184 h 51323"/>
                <a:gd name="connsiteX1470" fmla="*/ 32687 w 51323"/>
                <a:gd name="connsiteY1470" fmla="*/ 6184 h 51323"/>
                <a:gd name="connsiteX1471" fmla="*/ 32687 w 51323"/>
                <a:gd name="connsiteY1471" fmla="*/ 6184 h 51323"/>
                <a:gd name="connsiteX1472" fmla="*/ 32687 w 51323"/>
                <a:gd name="connsiteY1472" fmla="*/ 6184 h 51323"/>
                <a:gd name="connsiteX1473" fmla="*/ 32962 w 51323"/>
                <a:gd name="connsiteY1473" fmla="*/ 6287 h 51323"/>
                <a:gd name="connsiteX1474" fmla="*/ 32739 w 51323"/>
                <a:gd name="connsiteY1474" fmla="*/ 6184 h 51323"/>
                <a:gd name="connsiteX1475" fmla="*/ 32893 w 51323"/>
                <a:gd name="connsiteY1475" fmla="*/ 6184 h 51323"/>
                <a:gd name="connsiteX1476" fmla="*/ 32807 w 51323"/>
                <a:gd name="connsiteY1476" fmla="*/ 6184 h 51323"/>
                <a:gd name="connsiteX1477" fmla="*/ 32670 w 51323"/>
                <a:gd name="connsiteY1477" fmla="*/ 6184 h 51323"/>
                <a:gd name="connsiteX1478" fmla="*/ 32670 w 51323"/>
                <a:gd name="connsiteY1478" fmla="*/ 6184 h 51323"/>
                <a:gd name="connsiteX1479" fmla="*/ 32532 w 51323"/>
                <a:gd name="connsiteY1479" fmla="*/ 6184 h 51323"/>
                <a:gd name="connsiteX1480" fmla="*/ 32876 w 51323"/>
                <a:gd name="connsiteY1480" fmla="*/ 6304 h 51323"/>
                <a:gd name="connsiteX1481" fmla="*/ 32481 w 51323"/>
                <a:gd name="connsiteY1481" fmla="*/ 6166 h 51323"/>
                <a:gd name="connsiteX1482" fmla="*/ 32481 w 51323"/>
                <a:gd name="connsiteY1482" fmla="*/ 6166 h 51323"/>
                <a:gd name="connsiteX1483" fmla="*/ 32343 w 51323"/>
                <a:gd name="connsiteY1483" fmla="*/ 6166 h 51323"/>
                <a:gd name="connsiteX1484" fmla="*/ 32343 w 51323"/>
                <a:gd name="connsiteY1484" fmla="*/ 6166 h 51323"/>
                <a:gd name="connsiteX1485" fmla="*/ 32343 w 51323"/>
                <a:gd name="connsiteY1485" fmla="*/ 6166 h 51323"/>
                <a:gd name="connsiteX1486" fmla="*/ 32206 w 51323"/>
                <a:gd name="connsiteY1486" fmla="*/ 6166 h 51323"/>
                <a:gd name="connsiteX1487" fmla="*/ 32206 w 51323"/>
                <a:gd name="connsiteY1487" fmla="*/ 6166 h 51323"/>
                <a:gd name="connsiteX1488" fmla="*/ 31742 w 51323"/>
                <a:gd name="connsiteY1488" fmla="*/ 6029 h 51323"/>
                <a:gd name="connsiteX1489" fmla="*/ 31742 w 51323"/>
                <a:gd name="connsiteY1489" fmla="*/ 6029 h 51323"/>
                <a:gd name="connsiteX1490" fmla="*/ 30952 w 51323"/>
                <a:gd name="connsiteY1490" fmla="*/ 5754 h 51323"/>
                <a:gd name="connsiteX1491" fmla="*/ 30952 w 51323"/>
                <a:gd name="connsiteY1491" fmla="*/ 5754 h 51323"/>
                <a:gd name="connsiteX1492" fmla="*/ 31055 w 51323"/>
                <a:gd name="connsiteY1492" fmla="*/ 5754 h 51323"/>
                <a:gd name="connsiteX1493" fmla="*/ 31055 w 51323"/>
                <a:gd name="connsiteY1493" fmla="*/ 5754 h 51323"/>
                <a:gd name="connsiteX1494" fmla="*/ 31605 w 51323"/>
                <a:gd name="connsiteY1494" fmla="*/ 5909 h 51323"/>
                <a:gd name="connsiteX1495" fmla="*/ 31416 w 51323"/>
                <a:gd name="connsiteY1495" fmla="*/ 5909 h 51323"/>
                <a:gd name="connsiteX1496" fmla="*/ 31588 w 51323"/>
                <a:gd name="connsiteY1496" fmla="*/ 5909 h 51323"/>
                <a:gd name="connsiteX1497" fmla="*/ 31485 w 51323"/>
                <a:gd name="connsiteY1497" fmla="*/ 5909 h 51323"/>
                <a:gd name="connsiteX1498" fmla="*/ 31485 w 51323"/>
                <a:gd name="connsiteY1498" fmla="*/ 5909 h 51323"/>
                <a:gd name="connsiteX1499" fmla="*/ 31485 w 51323"/>
                <a:gd name="connsiteY1499" fmla="*/ 5909 h 51323"/>
                <a:gd name="connsiteX1500" fmla="*/ 31811 w 51323"/>
                <a:gd name="connsiteY1500" fmla="*/ 5909 h 51323"/>
                <a:gd name="connsiteX1501" fmla="*/ 31811 w 51323"/>
                <a:gd name="connsiteY1501" fmla="*/ 5909 h 51323"/>
                <a:gd name="connsiteX1502" fmla="*/ 31708 w 51323"/>
                <a:gd name="connsiteY1502" fmla="*/ 5909 h 51323"/>
                <a:gd name="connsiteX1503" fmla="*/ 31708 w 51323"/>
                <a:gd name="connsiteY1503" fmla="*/ 5909 h 51323"/>
                <a:gd name="connsiteX1504" fmla="*/ 31708 w 51323"/>
                <a:gd name="connsiteY1504" fmla="*/ 5909 h 51323"/>
                <a:gd name="connsiteX1505" fmla="*/ 31708 w 51323"/>
                <a:gd name="connsiteY1505" fmla="*/ 5909 h 51323"/>
                <a:gd name="connsiteX1506" fmla="*/ 31708 w 51323"/>
                <a:gd name="connsiteY1506" fmla="*/ 5909 h 51323"/>
                <a:gd name="connsiteX1507" fmla="*/ 32292 w 51323"/>
                <a:gd name="connsiteY1507" fmla="*/ 6046 h 51323"/>
                <a:gd name="connsiteX1508" fmla="*/ 32051 w 51323"/>
                <a:gd name="connsiteY1508" fmla="*/ 6046 h 51323"/>
                <a:gd name="connsiteX1509" fmla="*/ 32378 w 51323"/>
                <a:gd name="connsiteY1509" fmla="*/ 6046 h 51323"/>
                <a:gd name="connsiteX1510" fmla="*/ 32635 w 51323"/>
                <a:gd name="connsiteY1510" fmla="*/ 6046 h 51323"/>
                <a:gd name="connsiteX1511" fmla="*/ 32635 w 51323"/>
                <a:gd name="connsiteY1511" fmla="*/ 6046 h 51323"/>
                <a:gd name="connsiteX1512" fmla="*/ 32773 w 51323"/>
                <a:gd name="connsiteY1512" fmla="*/ 6046 h 51323"/>
                <a:gd name="connsiteX1513" fmla="*/ 32773 w 51323"/>
                <a:gd name="connsiteY1513" fmla="*/ 6046 h 51323"/>
                <a:gd name="connsiteX1514" fmla="*/ 32773 w 51323"/>
                <a:gd name="connsiteY1514" fmla="*/ 6046 h 51323"/>
                <a:gd name="connsiteX1515" fmla="*/ 34010 w 51323"/>
                <a:gd name="connsiteY1515" fmla="*/ 6493 h 51323"/>
                <a:gd name="connsiteX1516" fmla="*/ 34010 w 51323"/>
                <a:gd name="connsiteY1516" fmla="*/ 6493 h 51323"/>
                <a:gd name="connsiteX1517" fmla="*/ 34645 w 51323"/>
                <a:gd name="connsiteY1517" fmla="*/ 6768 h 51323"/>
                <a:gd name="connsiteX1518" fmla="*/ 34645 w 51323"/>
                <a:gd name="connsiteY1518" fmla="*/ 6768 h 51323"/>
                <a:gd name="connsiteX1519" fmla="*/ 35470 w 51323"/>
                <a:gd name="connsiteY1519" fmla="*/ 7163 h 51323"/>
                <a:gd name="connsiteX1520" fmla="*/ 34662 w 51323"/>
                <a:gd name="connsiteY1520" fmla="*/ 6733 h 51323"/>
                <a:gd name="connsiteX1521" fmla="*/ 34662 w 51323"/>
                <a:gd name="connsiteY1521" fmla="*/ 6733 h 51323"/>
                <a:gd name="connsiteX1522" fmla="*/ 34353 w 51323"/>
                <a:gd name="connsiteY1522" fmla="*/ 6596 h 51323"/>
                <a:gd name="connsiteX1523" fmla="*/ 34491 w 51323"/>
                <a:gd name="connsiteY1523" fmla="*/ 6596 h 51323"/>
                <a:gd name="connsiteX1524" fmla="*/ 34250 w 51323"/>
                <a:gd name="connsiteY1524" fmla="*/ 6493 h 51323"/>
                <a:gd name="connsiteX1525" fmla="*/ 34113 w 51323"/>
                <a:gd name="connsiteY1525" fmla="*/ 6493 h 51323"/>
                <a:gd name="connsiteX1526" fmla="*/ 34422 w 51323"/>
                <a:gd name="connsiteY1526" fmla="*/ 6596 h 51323"/>
                <a:gd name="connsiteX1527" fmla="*/ 34113 w 51323"/>
                <a:gd name="connsiteY1527" fmla="*/ 6476 h 51323"/>
                <a:gd name="connsiteX1528" fmla="*/ 34628 w 51323"/>
                <a:gd name="connsiteY1528" fmla="*/ 6630 h 51323"/>
                <a:gd name="connsiteX1529" fmla="*/ 34473 w 51323"/>
                <a:gd name="connsiteY1529" fmla="*/ 6630 h 51323"/>
                <a:gd name="connsiteX1530" fmla="*/ 34473 w 51323"/>
                <a:gd name="connsiteY1530" fmla="*/ 6630 h 51323"/>
                <a:gd name="connsiteX1531" fmla="*/ 33700 w 51323"/>
                <a:gd name="connsiteY1531" fmla="*/ 4827 h 51323"/>
                <a:gd name="connsiteX1532" fmla="*/ 49314 w 51323"/>
                <a:gd name="connsiteY1532" fmla="*/ 25438 h 51323"/>
                <a:gd name="connsiteX1533" fmla="*/ 49177 w 51323"/>
                <a:gd name="connsiteY1533" fmla="*/ 26452 h 51323"/>
                <a:gd name="connsiteX1534" fmla="*/ 49159 w 51323"/>
                <a:gd name="connsiteY1534" fmla="*/ 26589 h 5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</a:cxnLst>
              <a:rect l="l" t="t" r="r" b="b"/>
              <a:pathLst>
                <a:path w="51323" h="51323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5EE28F8-59B8-4B7B-ADBB-0A8C996287DE}"/>
                </a:ext>
              </a:extLst>
            </p:cNvPr>
            <p:cNvSpPr/>
            <p:nvPr/>
          </p:nvSpPr>
          <p:spPr>
            <a:xfrm rot="16200000">
              <a:off x="12026199" y="6563439"/>
              <a:ext cx="13277" cy="68070"/>
            </a:xfrm>
            <a:custGeom>
              <a:avLst/>
              <a:gdLst>
                <a:gd name="connsiteX0" fmla="*/ 13277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7 w 13277"/>
                <a:gd name="connsiteY3" fmla="*/ 0 h 68070"/>
                <a:gd name="connsiteX4" fmla="*/ 0 w 13277"/>
                <a:gd name="connsiteY4" fmla="*/ 17984 h 68070"/>
                <a:gd name="connsiteX5" fmla="*/ 13277 w 13277"/>
                <a:gd name="connsiteY5" fmla="*/ 17984 h 68070"/>
                <a:gd name="connsiteX6" fmla="*/ 13277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79BFCA7-501B-4E94-B737-0DC03A321176}"/>
                </a:ext>
              </a:extLst>
            </p:cNvPr>
            <p:cNvSpPr/>
            <p:nvPr/>
          </p:nvSpPr>
          <p:spPr>
            <a:xfrm rot="16200000">
              <a:off x="12018640" y="6529825"/>
              <a:ext cx="45208" cy="51256"/>
            </a:xfrm>
            <a:custGeom>
              <a:avLst/>
              <a:gdLst>
                <a:gd name="connsiteX0" fmla="*/ 40279 w 45208"/>
                <a:gd name="connsiteY0" fmla="*/ 4038 h 51256"/>
                <a:gd name="connsiteX1" fmla="*/ 45209 w 45208"/>
                <a:gd name="connsiteY1" fmla="*/ 17521 h 51256"/>
                <a:gd name="connsiteX2" fmla="*/ 45209 w 45208"/>
                <a:gd name="connsiteY2" fmla="*/ 51256 h 51256"/>
                <a:gd name="connsiteX3" fmla="*/ 31794 w 45208"/>
                <a:gd name="connsiteY3" fmla="*/ 51256 h 51256"/>
                <a:gd name="connsiteX4" fmla="*/ 31794 w 45208"/>
                <a:gd name="connsiteY4" fmla="*/ 20785 h 51256"/>
                <a:gd name="connsiteX5" fmla="*/ 30746 w 45208"/>
                <a:gd name="connsiteY5" fmla="*/ 14722 h 51256"/>
                <a:gd name="connsiteX6" fmla="*/ 23446 w 45208"/>
                <a:gd name="connsiteY6" fmla="*/ 10874 h 51256"/>
                <a:gd name="connsiteX7" fmla="*/ 14360 w 45208"/>
                <a:gd name="connsiteY7" fmla="*/ 16525 h 51256"/>
                <a:gd name="connsiteX8" fmla="*/ 13089 w 45208"/>
                <a:gd name="connsiteY8" fmla="*/ 24152 h 51256"/>
                <a:gd name="connsiteX9" fmla="*/ 13089 w 45208"/>
                <a:gd name="connsiteY9" fmla="*/ 51256 h 51256"/>
                <a:gd name="connsiteX10" fmla="*/ 0 w 45208"/>
                <a:gd name="connsiteY10" fmla="*/ 51256 h 51256"/>
                <a:gd name="connsiteX11" fmla="*/ 0 w 45208"/>
                <a:gd name="connsiteY11" fmla="*/ 1272 h 51256"/>
                <a:gd name="connsiteX12" fmla="*/ 12676 w 45208"/>
                <a:gd name="connsiteY12" fmla="*/ 1272 h 51256"/>
                <a:gd name="connsiteX13" fmla="*/ 12676 w 45208"/>
                <a:gd name="connsiteY13" fmla="*/ 8607 h 51256"/>
                <a:gd name="connsiteX14" fmla="*/ 17434 w 45208"/>
                <a:gd name="connsiteY14" fmla="*/ 3042 h 51256"/>
                <a:gd name="connsiteX15" fmla="*/ 27637 w 45208"/>
                <a:gd name="connsiteY15" fmla="*/ 19 h 51256"/>
                <a:gd name="connsiteX16" fmla="*/ 40279 w 45208"/>
                <a:gd name="connsiteY16" fmla="*/ 4038 h 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6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67089D8-3A31-4784-A21E-51601616ADBA}"/>
                </a:ext>
              </a:extLst>
            </p:cNvPr>
            <p:cNvSpPr/>
            <p:nvPr/>
          </p:nvSpPr>
          <p:spPr>
            <a:xfrm rot="16200000">
              <a:off x="12018195" y="6477145"/>
              <a:ext cx="28942" cy="68414"/>
            </a:xfrm>
            <a:custGeom>
              <a:avLst/>
              <a:gdLst>
                <a:gd name="connsiteX0" fmla="*/ 25868 w 28942"/>
                <a:gd name="connsiteY0" fmla="*/ 0 h 68414"/>
                <a:gd name="connsiteX1" fmla="*/ 28616 w 28942"/>
                <a:gd name="connsiteY1" fmla="*/ 206 h 68414"/>
                <a:gd name="connsiteX2" fmla="*/ 28616 w 28942"/>
                <a:gd name="connsiteY2" fmla="*/ 10941 h 68414"/>
                <a:gd name="connsiteX3" fmla="*/ 24923 w 28942"/>
                <a:gd name="connsiteY3" fmla="*/ 10735 h 68414"/>
                <a:gd name="connsiteX4" fmla="*/ 21333 w 28942"/>
                <a:gd name="connsiteY4" fmla="*/ 11869 h 68414"/>
                <a:gd name="connsiteX5" fmla="*/ 20354 w 28942"/>
                <a:gd name="connsiteY5" fmla="*/ 14566 h 68414"/>
                <a:gd name="connsiteX6" fmla="*/ 20354 w 28942"/>
                <a:gd name="connsiteY6" fmla="*/ 18791 h 68414"/>
                <a:gd name="connsiteX7" fmla="*/ 28943 w 28942"/>
                <a:gd name="connsiteY7" fmla="*/ 18791 h 68414"/>
                <a:gd name="connsiteX8" fmla="*/ 28943 w 28942"/>
                <a:gd name="connsiteY8" fmla="*/ 28032 h 68414"/>
                <a:gd name="connsiteX9" fmla="*/ 20354 w 28942"/>
                <a:gd name="connsiteY9" fmla="*/ 28032 h 68414"/>
                <a:gd name="connsiteX10" fmla="*/ 20354 w 28942"/>
                <a:gd name="connsiteY10" fmla="*/ 68414 h 68414"/>
                <a:gd name="connsiteX11" fmla="*/ 7352 w 28942"/>
                <a:gd name="connsiteY11" fmla="*/ 68414 h 68414"/>
                <a:gd name="connsiteX12" fmla="*/ 7352 w 28942"/>
                <a:gd name="connsiteY12" fmla="*/ 28032 h 68414"/>
                <a:gd name="connsiteX13" fmla="*/ 0 w 28942"/>
                <a:gd name="connsiteY13" fmla="*/ 28032 h 68414"/>
                <a:gd name="connsiteX14" fmla="*/ 0 w 28942"/>
                <a:gd name="connsiteY14" fmla="*/ 18791 h 68414"/>
                <a:gd name="connsiteX15" fmla="*/ 7163 w 28942"/>
                <a:gd name="connsiteY15" fmla="*/ 18791 h 68414"/>
                <a:gd name="connsiteX16" fmla="*/ 7163 w 28942"/>
                <a:gd name="connsiteY16" fmla="*/ 15579 h 68414"/>
                <a:gd name="connsiteX17" fmla="*/ 9877 w 28942"/>
                <a:gd name="connsiteY17" fmla="*/ 4500 h 68414"/>
                <a:gd name="connsiteX18" fmla="*/ 23618 w 28942"/>
                <a:gd name="connsiteY18" fmla="*/ 0 h 68414"/>
                <a:gd name="connsiteX19" fmla="*/ 25868 w 28942"/>
                <a:gd name="connsiteY19" fmla="*/ 0 h 6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42" h="68414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8F5D574-BF44-4D2C-A01D-D6F5189D45B1}"/>
                </a:ext>
              </a:extLst>
            </p:cNvPr>
            <p:cNvSpPr/>
            <p:nvPr/>
          </p:nvSpPr>
          <p:spPr>
            <a:xfrm rot="16200000">
              <a:off x="12016830" y="6161182"/>
              <a:ext cx="49036" cy="51048"/>
            </a:xfrm>
            <a:custGeom>
              <a:avLst/>
              <a:gdLst>
                <a:gd name="connsiteX0" fmla="*/ 42949 w 49036"/>
                <a:gd name="connsiteY0" fmla="*/ 43542 h 51048"/>
                <a:gd name="connsiteX1" fmla="*/ 24519 w 49036"/>
                <a:gd name="connsiteY1" fmla="*/ 51049 h 51048"/>
                <a:gd name="connsiteX2" fmla="*/ 6071 w 49036"/>
                <a:gd name="connsiteY2" fmla="*/ 43542 h 51048"/>
                <a:gd name="connsiteX3" fmla="*/ 8 w 49036"/>
                <a:gd name="connsiteY3" fmla="*/ 25576 h 51048"/>
                <a:gd name="connsiteX4" fmla="*/ 6071 w 49036"/>
                <a:gd name="connsiteY4" fmla="*/ 7592 h 51048"/>
                <a:gd name="connsiteX5" fmla="*/ 24519 w 49036"/>
                <a:gd name="connsiteY5" fmla="*/ 0 h 51048"/>
                <a:gd name="connsiteX6" fmla="*/ 42949 w 49036"/>
                <a:gd name="connsiteY6" fmla="*/ 7592 h 51048"/>
                <a:gd name="connsiteX7" fmla="*/ 49030 w 49036"/>
                <a:gd name="connsiteY7" fmla="*/ 25576 h 51048"/>
                <a:gd name="connsiteX8" fmla="*/ 42949 w 49036"/>
                <a:gd name="connsiteY8" fmla="*/ 43542 h 51048"/>
                <a:gd name="connsiteX9" fmla="*/ 32918 w 49036"/>
                <a:gd name="connsiteY9" fmla="*/ 36672 h 51048"/>
                <a:gd name="connsiteX10" fmla="*/ 35872 w 49036"/>
                <a:gd name="connsiteY10" fmla="*/ 25576 h 51048"/>
                <a:gd name="connsiteX11" fmla="*/ 32918 w 49036"/>
                <a:gd name="connsiteY11" fmla="*/ 14480 h 51048"/>
                <a:gd name="connsiteX12" fmla="*/ 17172 w 49036"/>
                <a:gd name="connsiteY12" fmla="*/ 13307 h 51048"/>
                <a:gd name="connsiteX13" fmla="*/ 15999 w 49036"/>
                <a:gd name="connsiteY13" fmla="*/ 14480 h 51048"/>
                <a:gd name="connsiteX14" fmla="*/ 13027 w 49036"/>
                <a:gd name="connsiteY14" fmla="*/ 25576 h 51048"/>
                <a:gd name="connsiteX15" fmla="*/ 15999 w 49036"/>
                <a:gd name="connsiteY15" fmla="*/ 36706 h 51048"/>
                <a:gd name="connsiteX16" fmla="*/ 31692 w 49036"/>
                <a:gd name="connsiteY16" fmla="*/ 37932 h 51048"/>
                <a:gd name="connsiteX17" fmla="*/ 32918 w 49036"/>
                <a:gd name="connsiteY17" fmla="*/ 36706 h 51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036" h="51048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bg1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6C33F15-01E0-48CD-9E75-6B6012DA4688}"/>
                </a:ext>
              </a:extLst>
            </p:cNvPr>
            <p:cNvSpPr/>
            <p:nvPr/>
          </p:nvSpPr>
          <p:spPr>
            <a:xfrm rot="16200000">
              <a:off x="12005374" y="6370523"/>
              <a:ext cx="71791" cy="51205"/>
            </a:xfrm>
            <a:custGeom>
              <a:avLst/>
              <a:gdLst>
                <a:gd name="connsiteX0" fmla="*/ 62643 w 71791"/>
                <a:gd name="connsiteY0" fmla="*/ 1307 h 51205"/>
                <a:gd name="connsiteX1" fmla="*/ 68466 w 71791"/>
                <a:gd name="connsiteY1" fmla="*/ 5808 h 51205"/>
                <a:gd name="connsiteX2" fmla="*/ 71317 w 71791"/>
                <a:gd name="connsiteY2" fmla="*/ 12249 h 51205"/>
                <a:gd name="connsiteX3" fmla="*/ 71781 w 71791"/>
                <a:gd name="connsiteY3" fmla="*/ 19635 h 51205"/>
                <a:gd name="connsiteX4" fmla="*/ 71781 w 71791"/>
                <a:gd name="connsiteY4" fmla="*/ 51205 h 51205"/>
                <a:gd name="connsiteX5" fmla="*/ 58349 w 71791"/>
                <a:gd name="connsiteY5" fmla="*/ 51205 h 51205"/>
                <a:gd name="connsiteX6" fmla="*/ 58349 w 71791"/>
                <a:gd name="connsiteY6" fmla="*/ 19308 h 51205"/>
                <a:gd name="connsiteX7" fmla="*/ 57438 w 71791"/>
                <a:gd name="connsiteY7" fmla="*/ 14636 h 51205"/>
                <a:gd name="connsiteX8" fmla="*/ 50997 w 71791"/>
                <a:gd name="connsiteY8" fmla="*/ 11201 h 51205"/>
                <a:gd name="connsiteX9" fmla="*/ 43525 w 71791"/>
                <a:gd name="connsiteY9" fmla="*/ 15701 h 51205"/>
                <a:gd name="connsiteX10" fmla="*/ 42460 w 71791"/>
                <a:gd name="connsiteY10" fmla="*/ 21455 h 51205"/>
                <a:gd name="connsiteX11" fmla="*/ 42460 w 71791"/>
                <a:gd name="connsiteY11" fmla="*/ 51205 h 51205"/>
                <a:gd name="connsiteX12" fmla="*/ 29269 w 71791"/>
                <a:gd name="connsiteY12" fmla="*/ 51205 h 51205"/>
                <a:gd name="connsiteX13" fmla="*/ 29269 w 71791"/>
                <a:gd name="connsiteY13" fmla="*/ 21387 h 51205"/>
                <a:gd name="connsiteX14" fmla="*/ 28359 w 71791"/>
                <a:gd name="connsiteY14" fmla="*/ 14911 h 51205"/>
                <a:gd name="connsiteX15" fmla="*/ 21883 w 71791"/>
                <a:gd name="connsiteY15" fmla="*/ 11270 h 51205"/>
                <a:gd name="connsiteX16" fmla="*/ 14342 w 71791"/>
                <a:gd name="connsiteY16" fmla="*/ 14911 h 51205"/>
                <a:gd name="connsiteX17" fmla="*/ 13277 w 71791"/>
                <a:gd name="connsiteY17" fmla="*/ 21060 h 51205"/>
                <a:gd name="connsiteX18" fmla="*/ 13277 w 71791"/>
                <a:gd name="connsiteY18" fmla="*/ 51205 h 51205"/>
                <a:gd name="connsiteX19" fmla="*/ 0 w 71791"/>
                <a:gd name="connsiteY19" fmla="*/ 51205 h 51205"/>
                <a:gd name="connsiteX20" fmla="*/ 0 w 71791"/>
                <a:gd name="connsiteY20" fmla="*/ 1221 h 51205"/>
                <a:gd name="connsiteX21" fmla="*/ 12728 w 71791"/>
                <a:gd name="connsiteY21" fmla="*/ 1221 h 51205"/>
                <a:gd name="connsiteX22" fmla="*/ 12728 w 71791"/>
                <a:gd name="connsiteY22" fmla="*/ 8556 h 51205"/>
                <a:gd name="connsiteX23" fmla="*/ 17331 w 71791"/>
                <a:gd name="connsiteY23" fmla="*/ 2991 h 51205"/>
                <a:gd name="connsiteX24" fmla="*/ 36483 w 71791"/>
                <a:gd name="connsiteY24" fmla="*/ 2578 h 51205"/>
                <a:gd name="connsiteX25" fmla="*/ 40726 w 71791"/>
                <a:gd name="connsiteY25" fmla="*/ 8556 h 51205"/>
                <a:gd name="connsiteX26" fmla="*/ 47098 w 71791"/>
                <a:gd name="connsiteY26" fmla="*/ 2063 h 51205"/>
                <a:gd name="connsiteX27" fmla="*/ 56116 w 71791"/>
                <a:gd name="connsiteY27" fmla="*/ 2 h 51205"/>
                <a:gd name="connsiteX28" fmla="*/ 62643 w 71791"/>
                <a:gd name="connsiteY28" fmla="*/ 1307 h 5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1791" h="51205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bg1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7343DF7-5272-4CE7-95F5-DF8B94BE48CB}"/>
                </a:ext>
              </a:extLst>
            </p:cNvPr>
            <p:cNvSpPr/>
            <p:nvPr/>
          </p:nvSpPr>
          <p:spPr>
            <a:xfrm rot="16200000">
              <a:off x="12026199" y="6307354"/>
              <a:ext cx="13277" cy="68070"/>
            </a:xfrm>
            <a:custGeom>
              <a:avLst/>
              <a:gdLst>
                <a:gd name="connsiteX0" fmla="*/ 13278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8 w 13277"/>
                <a:gd name="connsiteY3" fmla="*/ 0 h 68070"/>
                <a:gd name="connsiteX4" fmla="*/ 0 w 13277"/>
                <a:gd name="connsiteY4" fmla="*/ 17984 h 68070"/>
                <a:gd name="connsiteX5" fmla="*/ 13278 w 13277"/>
                <a:gd name="connsiteY5" fmla="*/ 17984 h 68070"/>
                <a:gd name="connsiteX6" fmla="*/ 13278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bg1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932C76C-A69A-44D5-9311-3010B4D0008B}"/>
                </a:ext>
              </a:extLst>
            </p:cNvPr>
            <p:cNvSpPr/>
            <p:nvPr/>
          </p:nvSpPr>
          <p:spPr>
            <a:xfrm rot="16200000">
              <a:off x="12018641" y="6273739"/>
              <a:ext cx="45208" cy="51255"/>
            </a:xfrm>
            <a:custGeom>
              <a:avLst/>
              <a:gdLst>
                <a:gd name="connsiteX0" fmla="*/ 40296 w 45208"/>
                <a:gd name="connsiteY0" fmla="*/ 4038 h 51255"/>
                <a:gd name="connsiteX1" fmla="*/ 45209 w 45208"/>
                <a:gd name="connsiteY1" fmla="*/ 17521 h 51255"/>
                <a:gd name="connsiteX2" fmla="*/ 45209 w 45208"/>
                <a:gd name="connsiteY2" fmla="*/ 51256 h 51255"/>
                <a:gd name="connsiteX3" fmla="*/ 31794 w 45208"/>
                <a:gd name="connsiteY3" fmla="*/ 51256 h 51255"/>
                <a:gd name="connsiteX4" fmla="*/ 31794 w 45208"/>
                <a:gd name="connsiteY4" fmla="*/ 20785 h 51255"/>
                <a:gd name="connsiteX5" fmla="*/ 30746 w 45208"/>
                <a:gd name="connsiteY5" fmla="*/ 14722 h 51255"/>
                <a:gd name="connsiteX6" fmla="*/ 23446 w 45208"/>
                <a:gd name="connsiteY6" fmla="*/ 10874 h 51255"/>
                <a:gd name="connsiteX7" fmla="*/ 14377 w 45208"/>
                <a:gd name="connsiteY7" fmla="*/ 16525 h 51255"/>
                <a:gd name="connsiteX8" fmla="*/ 13089 w 45208"/>
                <a:gd name="connsiteY8" fmla="*/ 24151 h 51255"/>
                <a:gd name="connsiteX9" fmla="*/ 13089 w 45208"/>
                <a:gd name="connsiteY9" fmla="*/ 51256 h 51255"/>
                <a:gd name="connsiteX10" fmla="*/ 0 w 45208"/>
                <a:gd name="connsiteY10" fmla="*/ 51256 h 51255"/>
                <a:gd name="connsiteX11" fmla="*/ 0 w 45208"/>
                <a:gd name="connsiteY11" fmla="*/ 1272 h 51255"/>
                <a:gd name="connsiteX12" fmla="*/ 12676 w 45208"/>
                <a:gd name="connsiteY12" fmla="*/ 1272 h 51255"/>
                <a:gd name="connsiteX13" fmla="*/ 12676 w 45208"/>
                <a:gd name="connsiteY13" fmla="*/ 8607 h 51255"/>
                <a:gd name="connsiteX14" fmla="*/ 17434 w 45208"/>
                <a:gd name="connsiteY14" fmla="*/ 3042 h 51255"/>
                <a:gd name="connsiteX15" fmla="*/ 27637 w 45208"/>
                <a:gd name="connsiteY15" fmla="*/ 18 h 51255"/>
                <a:gd name="connsiteX16" fmla="*/ 40296 w 45208"/>
                <a:gd name="connsiteY16" fmla="*/ 4038 h 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5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bg1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AEBFC2C-EC7D-4985-8A3E-1B7BBED17EE0}"/>
                </a:ext>
              </a:extLst>
            </p:cNvPr>
            <p:cNvSpPr/>
            <p:nvPr/>
          </p:nvSpPr>
          <p:spPr>
            <a:xfrm rot="16200000">
              <a:off x="12017163" y="6218687"/>
              <a:ext cx="48082" cy="51510"/>
            </a:xfrm>
            <a:custGeom>
              <a:avLst/>
              <a:gdLst>
                <a:gd name="connsiteX0" fmla="*/ 35384 w 48082"/>
                <a:gd name="connsiteY0" fmla="*/ 2281 h 51510"/>
                <a:gd name="connsiteX1" fmla="*/ 43766 w 48082"/>
                <a:gd name="connsiteY1" fmla="*/ 9444 h 51510"/>
                <a:gd name="connsiteX2" fmla="*/ 47631 w 48082"/>
                <a:gd name="connsiteY2" fmla="*/ 19475 h 51510"/>
                <a:gd name="connsiteX3" fmla="*/ 48043 w 48082"/>
                <a:gd name="connsiteY3" fmla="*/ 29094 h 51510"/>
                <a:gd name="connsiteX4" fmla="*/ 12711 w 48082"/>
                <a:gd name="connsiteY4" fmla="*/ 29094 h 51510"/>
                <a:gd name="connsiteX5" fmla="*/ 17778 w 48082"/>
                <a:gd name="connsiteY5" fmla="*/ 39400 h 51510"/>
                <a:gd name="connsiteX6" fmla="*/ 24769 w 48082"/>
                <a:gd name="connsiteY6" fmla="*/ 41237 h 51510"/>
                <a:gd name="connsiteX7" fmla="*/ 31811 w 48082"/>
                <a:gd name="connsiteY7" fmla="*/ 39004 h 51510"/>
                <a:gd name="connsiteX8" fmla="*/ 34405 w 48082"/>
                <a:gd name="connsiteY8" fmla="*/ 35672 h 51510"/>
                <a:gd name="connsiteX9" fmla="*/ 47407 w 48082"/>
                <a:gd name="connsiteY9" fmla="*/ 35672 h 51510"/>
                <a:gd name="connsiteX10" fmla="*/ 42701 w 48082"/>
                <a:gd name="connsiteY10" fmla="*/ 44432 h 51510"/>
                <a:gd name="connsiteX11" fmla="*/ 24459 w 48082"/>
                <a:gd name="connsiteY11" fmla="*/ 51509 h 51510"/>
                <a:gd name="connsiteX12" fmla="*/ 7386 w 48082"/>
                <a:gd name="connsiteY12" fmla="*/ 45549 h 51510"/>
                <a:gd name="connsiteX13" fmla="*/ 0 w 48082"/>
                <a:gd name="connsiteY13" fmla="*/ 26139 h 51510"/>
                <a:gd name="connsiteX14" fmla="*/ 6682 w 48082"/>
                <a:gd name="connsiteY14" fmla="*/ 6816 h 51510"/>
                <a:gd name="connsiteX15" fmla="*/ 23961 w 48082"/>
                <a:gd name="connsiteY15" fmla="*/ 14 h 51510"/>
                <a:gd name="connsiteX16" fmla="*/ 35384 w 48082"/>
                <a:gd name="connsiteY16" fmla="*/ 2281 h 51510"/>
                <a:gd name="connsiteX17" fmla="*/ 16490 w 48082"/>
                <a:gd name="connsiteY17" fmla="*/ 13223 h 51510"/>
                <a:gd name="connsiteX18" fmla="*/ 13054 w 48082"/>
                <a:gd name="connsiteY18" fmla="*/ 20797 h 51510"/>
                <a:gd name="connsiteX19" fmla="*/ 34886 w 48082"/>
                <a:gd name="connsiteY19" fmla="*/ 20797 h 51510"/>
                <a:gd name="connsiteX20" fmla="*/ 31450 w 48082"/>
                <a:gd name="connsiteY20" fmla="*/ 13137 h 51510"/>
                <a:gd name="connsiteX21" fmla="*/ 23961 w 48082"/>
                <a:gd name="connsiteY21" fmla="*/ 10491 h 51510"/>
                <a:gd name="connsiteX22" fmla="*/ 16490 w 48082"/>
                <a:gd name="connsiteY22" fmla="*/ 13223 h 5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8082" h="5151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bg1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pic>
        <p:nvPicPr>
          <p:cNvPr id="22" name="Graphic 21">
            <a:extLst>
              <a:ext uri="{FF2B5EF4-FFF2-40B4-BE49-F238E27FC236}">
                <a16:creationId xmlns:a16="http://schemas.microsoft.com/office/drawing/2014/main" id="{6460F81E-C773-4142-A733-A3F679D9727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>
            <a:off x="11811887" y="6349041"/>
            <a:ext cx="441438" cy="68706"/>
          </a:xfrm>
          <a:prstGeom prst="rect">
            <a:avLst/>
          </a:prstGeom>
        </p:spPr>
      </p:pic>
      <p:sp>
        <p:nvSpPr>
          <p:cNvPr id="23" name="Copyright">
            <a:extLst>
              <a:ext uri="{FF2B5EF4-FFF2-40B4-BE49-F238E27FC236}">
                <a16:creationId xmlns:a16="http://schemas.microsoft.com/office/drawing/2014/main" id="{36916EB8-0EC8-4AA0-80E6-D35192F9EFDF}"/>
              </a:ext>
            </a:extLst>
          </p:cNvPr>
          <p:cNvSpPr txBox="1"/>
          <p:nvPr userDrawn="1"/>
        </p:nvSpPr>
        <p:spPr>
          <a:xfrm rot="16200000">
            <a:off x="11250971" y="5290633"/>
            <a:ext cx="1567737" cy="110800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lvl="0" algn="l" rtl="0"/>
            <a:r>
              <a:rPr lang="en-US" sz="800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0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083107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7863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DB78E29-AE9D-4534-AAF3-5096E0C7D2C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90BC53E-F1B5-445E-881E-C9199507F3DE}"/>
              </a:ext>
            </a:extLst>
          </p:cNvPr>
          <p:cNvSpPr/>
          <p:nvPr userDrawn="1"/>
        </p:nvSpPr>
        <p:spPr>
          <a:xfrm>
            <a:off x="550863" y="549275"/>
            <a:ext cx="7998777" cy="6308725"/>
          </a:xfrm>
          <a:prstGeom prst="rect">
            <a:avLst/>
          </a:prstGeom>
          <a:gradFill flip="none" rotWithShape="1">
            <a:gsLst>
              <a:gs pos="32000">
                <a:schemeClr val="tx2">
                  <a:lumMod val="50000"/>
                  <a:alpha val="90000"/>
                </a:schemeClr>
              </a:gs>
              <a:gs pos="61000">
                <a:schemeClr val="tx2">
                  <a:lumMod val="75000"/>
                  <a:alpha val="90000"/>
                </a:schemeClr>
              </a:gs>
              <a:gs pos="86000">
                <a:srgbClr val="036DFF">
                  <a:alpha val="9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663" y="926348"/>
            <a:ext cx="7343457" cy="418576"/>
          </a:xfrm>
        </p:spPr>
        <p:txBody>
          <a:bodyPr vert="horz" wrap="square" lIns="0" tIns="0" rIns="0" bIns="0" rtlCol="0" anchor="t">
            <a:spAutoFit/>
          </a:bodyPr>
          <a:lstStyle>
            <a:lvl1pPr rtl="0">
              <a:defRPr lang="en-IN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1A2FF9-94F4-4F68-B7EE-D99445194A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55663" y="6465614"/>
            <a:ext cx="65" cy="138499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96ED747-D836-453F-A711-DB41DB55EE7D}"/>
              </a:ext>
            </a:extLst>
          </p:cNvPr>
          <p:cNvCxnSpPr>
            <a:cxnSpLocks/>
          </p:cNvCxnSpPr>
          <p:nvPr userDrawn="1"/>
        </p:nvCxnSpPr>
        <p:spPr>
          <a:xfrm>
            <a:off x="844200" y="85067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F7E0603-54E5-4900-B884-DF607C9F881E}"/>
              </a:ext>
            </a:extLst>
          </p:cNvPr>
          <p:cNvGrpSpPr/>
          <p:nvPr userDrawn="1"/>
        </p:nvGrpSpPr>
        <p:grpSpPr>
          <a:xfrm>
            <a:off x="11998459" y="6162188"/>
            <a:ext cx="68500" cy="441924"/>
            <a:chOff x="11998459" y="6162188"/>
            <a:chExt cx="68500" cy="441924"/>
          </a:xfrm>
          <a:solidFill>
            <a:schemeClr val="bg1"/>
          </a:solidFill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FD03332-F5F6-45C3-90BC-295A2FCDED83}"/>
                </a:ext>
              </a:extLst>
            </p:cNvPr>
            <p:cNvSpPr/>
            <p:nvPr/>
          </p:nvSpPr>
          <p:spPr>
            <a:xfrm rot="16200000">
              <a:off x="12063068" y="6476346"/>
              <a:ext cx="17" cy="1717"/>
            </a:xfrm>
            <a:custGeom>
              <a:avLst/>
              <a:gdLst>
                <a:gd name="connsiteX0" fmla="*/ 0 w 17"/>
                <a:gd name="connsiteY0" fmla="*/ 0 h 1717"/>
                <a:gd name="connsiteX1" fmla="*/ 17 w 17"/>
                <a:gd name="connsiteY1" fmla="*/ 0 h 1717"/>
                <a:gd name="connsiteX2" fmla="*/ 17 w 17"/>
                <a:gd name="connsiteY2" fmla="*/ 0 h 1717"/>
                <a:gd name="connsiteX3" fmla="*/ 0 w 17"/>
                <a:gd name="connsiteY3" fmla="*/ 0 h 1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" h="1717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7143D5AD-2EB6-446B-91E7-AFA62075D007}"/>
                </a:ext>
              </a:extLst>
            </p:cNvPr>
            <p:cNvSpPr/>
            <p:nvPr/>
          </p:nvSpPr>
          <p:spPr>
            <a:xfrm rot="16200000">
              <a:off x="12023737" y="6455896"/>
              <a:ext cx="453" cy="271"/>
            </a:xfrm>
            <a:custGeom>
              <a:avLst/>
              <a:gdLst>
                <a:gd name="connsiteX0" fmla="*/ 0 w 453"/>
                <a:gd name="connsiteY0" fmla="*/ 0 h 271"/>
                <a:gd name="connsiteX1" fmla="*/ 447 w 453"/>
                <a:gd name="connsiteY1" fmla="*/ 240 h 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" h="271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1D7C6D40-BE52-466A-9AE8-D542A7DD17D9}"/>
                </a:ext>
              </a:extLst>
            </p:cNvPr>
            <p:cNvSpPr/>
            <p:nvPr/>
          </p:nvSpPr>
          <p:spPr>
            <a:xfrm rot="16200000">
              <a:off x="12023907" y="6477766"/>
              <a:ext cx="15" cy="76"/>
            </a:xfrm>
            <a:custGeom>
              <a:avLst/>
              <a:gdLst>
                <a:gd name="connsiteX0" fmla="*/ 15 w 15"/>
                <a:gd name="connsiteY0" fmla="*/ 38 h 76"/>
                <a:gd name="connsiteX1" fmla="*/ 15 w 15"/>
                <a:gd name="connsiteY1" fmla="*/ 38 h 76"/>
                <a:gd name="connsiteX2" fmla="*/ 15 w 15"/>
                <a:gd name="connsiteY2" fmla="*/ 38 h 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" h="76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00059BA-3623-49DE-8651-B8B90262EBE4}"/>
                </a:ext>
              </a:extLst>
            </p:cNvPr>
            <p:cNvSpPr/>
            <p:nvPr/>
          </p:nvSpPr>
          <p:spPr>
            <a:xfrm rot="16200000">
              <a:off x="12021636" y="6473651"/>
              <a:ext cx="261" cy="103"/>
            </a:xfrm>
            <a:custGeom>
              <a:avLst/>
              <a:gdLst>
                <a:gd name="connsiteX0" fmla="*/ 262 w 261"/>
                <a:gd name="connsiteY0" fmla="*/ 0 h 103"/>
                <a:gd name="connsiteX1" fmla="*/ 56 w 261"/>
                <a:gd name="connsiteY1" fmla="*/ 103 h 103"/>
                <a:gd name="connsiteX2" fmla="*/ 56 w 261"/>
                <a:gd name="connsiteY2" fmla="*/ 103 h 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" h="103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1C83417-9603-44F6-AC37-15EC25B464A1}"/>
                </a:ext>
              </a:extLst>
            </p:cNvPr>
            <p:cNvSpPr/>
            <p:nvPr/>
          </p:nvSpPr>
          <p:spPr>
            <a:xfrm rot="16200000">
              <a:off x="12015635" y="6442208"/>
              <a:ext cx="51323" cy="51323"/>
            </a:xfrm>
            <a:custGeom>
              <a:avLst/>
              <a:gdLst>
                <a:gd name="connsiteX0" fmla="*/ 25662 w 51323"/>
                <a:gd name="connsiteY0" fmla="*/ 0 h 51323"/>
                <a:gd name="connsiteX1" fmla="*/ 0 w 51323"/>
                <a:gd name="connsiteY1" fmla="*/ 25662 h 51323"/>
                <a:gd name="connsiteX2" fmla="*/ 25662 w 51323"/>
                <a:gd name="connsiteY2" fmla="*/ 51323 h 51323"/>
                <a:gd name="connsiteX3" fmla="*/ 51324 w 51323"/>
                <a:gd name="connsiteY3" fmla="*/ 25662 h 51323"/>
                <a:gd name="connsiteX4" fmla="*/ 51324 w 51323"/>
                <a:gd name="connsiteY4" fmla="*/ 25610 h 51323"/>
                <a:gd name="connsiteX5" fmla="*/ 25679 w 51323"/>
                <a:gd name="connsiteY5" fmla="*/ 0 h 51323"/>
                <a:gd name="connsiteX6" fmla="*/ 25662 w 51323"/>
                <a:gd name="connsiteY6" fmla="*/ 0 h 51323"/>
                <a:gd name="connsiteX7" fmla="*/ 26967 w 51323"/>
                <a:gd name="connsiteY7" fmla="*/ 15648 h 51323"/>
                <a:gd name="connsiteX8" fmla="*/ 26967 w 51323"/>
                <a:gd name="connsiteY8" fmla="*/ 15837 h 51323"/>
                <a:gd name="connsiteX9" fmla="*/ 26744 w 51323"/>
                <a:gd name="connsiteY9" fmla="*/ 15837 h 51323"/>
                <a:gd name="connsiteX10" fmla="*/ 26933 w 51323"/>
                <a:gd name="connsiteY10" fmla="*/ 16163 h 51323"/>
                <a:gd name="connsiteX11" fmla="*/ 27036 w 51323"/>
                <a:gd name="connsiteY11" fmla="*/ 16163 h 51323"/>
                <a:gd name="connsiteX12" fmla="*/ 27294 w 51323"/>
                <a:gd name="connsiteY12" fmla="*/ 16489 h 51323"/>
                <a:gd name="connsiteX13" fmla="*/ 27294 w 51323"/>
                <a:gd name="connsiteY13" fmla="*/ 16489 h 51323"/>
                <a:gd name="connsiteX14" fmla="*/ 27294 w 51323"/>
                <a:gd name="connsiteY14" fmla="*/ 16489 h 51323"/>
                <a:gd name="connsiteX15" fmla="*/ 27294 w 51323"/>
                <a:gd name="connsiteY15" fmla="*/ 16489 h 51323"/>
                <a:gd name="connsiteX16" fmla="*/ 27156 w 51323"/>
                <a:gd name="connsiteY16" fmla="*/ 16489 h 51323"/>
                <a:gd name="connsiteX17" fmla="*/ 27156 w 51323"/>
                <a:gd name="connsiteY17" fmla="*/ 16593 h 51323"/>
                <a:gd name="connsiteX18" fmla="*/ 27156 w 51323"/>
                <a:gd name="connsiteY18" fmla="*/ 16593 h 51323"/>
                <a:gd name="connsiteX19" fmla="*/ 27379 w 51323"/>
                <a:gd name="connsiteY19" fmla="*/ 16593 h 51323"/>
                <a:gd name="connsiteX20" fmla="*/ 27276 w 51323"/>
                <a:gd name="connsiteY20" fmla="*/ 16799 h 51323"/>
                <a:gd name="connsiteX21" fmla="*/ 26744 w 51323"/>
                <a:gd name="connsiteY21" fmla="*/ 16799 h 51323"/>
                <a:gd name="connsiteX22" fmla="*/ 26074 w 51323"/>
                <a:gd name="connsiteY22" fmla="*/ 16902 h 51323"/>
                <a:gd name="connsiteX23" fmla="*/ 25868 w 51323"/>
                <a:gd name="connsiteY23" fmla="*/ 16988 h 51323"/>
                <a:gd name="connsiteX24" fmla="*/ 25559 w 51323"/>
                <a:gd name="connsiteY24" fmla="*/ 17142 h 51323"/>
                <a:gd name="connsiteX25" fmla="*/ 25404 w 51323"/>
                <a:gd name="connsiteY25" fmla="*/ 17142 h 51323"/>
                <a:gd name="connsiteX26" fmla="*/ 25816 w 51323"/>
                <a:gd name="connsiteY26" fmla="*/ 16764 h 51323"/>
                <a:gd name="connsiteX27" fmla="*/ 26194 w 51323"/>
                <a:gd name="connsiteY27" fmla="*/ 16764 h 51323"/>
                <a:gd name="connsiteX28" fmla="*/ 26349 w 51323"/>
                <a:gd name="connsiteY28" fmla="*/ 16541 h 51323"/>
                <a:gd name="connsiteX29" fmla="*/ 26005 w 51323"/>
                <a:gd name="connsiteY29" fmla="*/ 16627 h 51323"/>
                <a:gd name="connsiteX30" fmla="*/ 25902 w 51323"/>
                <a:gd name="connsiteY30" fmla="*/ 16627 h 51323"/>
                <a:gd name="connsiteX31" fmla="*/ 25662 w 51323"/>
                <a:gd name="connsiteY31" fmla="*/ 16627 h 51323"/>
                <a:gd name="connsiteX32" fmla="*/ 25662 w 51323"/>
                <a:gd name="connsiteY32" fmla="*/ 16627 h 51323"/>
                <a:gd name="connsiteX33" fmla="*/ 25662 w 51323"/>
                <a:gd name="connsiteY33" fmla="*/ 16627 h 51323"/>
                <a:gd name="connsiteX34" fmla="*/ 26005 w 51323"/>
                <a:gd name="connsiteY34" fmla="*/ 16215 h 51323"/>
                <a:gd name="connsiteX35" fmla="*/ 25834 w 51323"/>
                <a:gd name="connsiteY35" fmla="*/ 16215 h 51323"/>
                <a:gd name="connsiteX36" fmla="*/ 26297 w 51323"/>
                <a:gd name="connsiteY36" fmla="*/ 16060 h 51323"/>
                <a:gd name="connsiteX37" fmla="*/ 26297 w 51323"/>
                <a:gd name="connsiteY37" fmla="*/ 16060 h 51323"/>
                <a:gd name="connsiteX38" fmla="*/ 26297 w 51323"/>
                <a:gd name="connsiteY38" fmla="*/ 15785 h 51323"/>
                <a:gd name="connsiteX39" fmla="*/ 26194 w 51323"/>
                <a:gd name="connsiteY39" fmla="*/ 15785 h 51323"/>
                <a:gd name="connsiteX40" fmla="*/ 26194 w 51323"/>
                <a:gd name="connsiteY40" fmla="*/ 15785 h 51323"/>
                <a:gd name="connsiteX41" fmla="*/ 26194 w 51323"/>
                <a:gd name="connsiteY41" fmla="*/ 15493 h 51323"/>
                <a:gd name="connsiteX42" fmla="*/ 25834 w 51323"/>
                <a:gd name="connsiteY42" fmla="*/ 15493 h 51323"/>
                <a:gd name="connsiteX43" fmla="*/ 25834 w 51323"/>
                <a:gd name="connsiteY43" fmla="*/ 15596 h 51323"/>
                <a:gd name="connsiteX44" fmla="*/ 25713 w 51323"/>
                <a:gd name="connsiteY44" fmla="*/ 15596 h 51323"/>
                <a:gd name="connsiteX45" fmla="*/ 25713 w 51323"/>
                <a:gd name="connsiteY45" fmla="*/ 15459 h 51323"/>
                <a:gd name="connsiteX46" fmla="*/ 25713 w 51323"/>
                <a:gd name="connsiteY46" fmla="*/ 15459 h 51323"/>
                <a:gd name="connsiteX47" fmla="*/ 25816 w 51323"/>
                <a:gd name="connsiteY47" fmla="*/ 15236 h 51323"/>
                <a:gd name="connsiteX48" fmla="*/ 25816 w 51323"/>
                <a:gd name="connsiteY48" fmla="*/ 15064 h 51323"/>
                <a:gd name="connsiteX49" fmla="*/ 25816 w 51323"/>
                <a:gd name="connsiteY49" fmla="*/ 14961 h 51323"/>
                <a:gd name="connsiteX50" fmla="*/ 25816 w 51323"/>
                <a:gd name="connsiteY50" fmla="*/ 15081 h 51323"/>
                <a:gd name="connsiteX51" fmla="*/ 25816 w 51323"/>
                <a:gd name="connsiteY51" fmla="*/ 15081 h 51323"/>
                <a:gd name="connsiteX52" fmla="*/ 25816 w 51323"/>
                <a:gd name="connsiteY52" fmla="*/ 15081 h 51323"/>
                <a:gd name="connsiteX53" fmla="*/ 25816 w 51323"/>
                <a:gd name="connsiteY53" fmla="*/ 15081 h 51323"/>
                <a:gd name="connsiteX54" fmla="*/ 25816 w 51323"/>
                <a:gd name="connsiteY54" fmla="*/ 15356 h 51323"/>
                <a:gd name="connsiteX55" fmla="*/ 25816 w 51323"/>
                <a:gd name="connsiteY55" fmla="*/ 15167 h 51323"/>
                <a:gd name="connsiteX56" fmla="*/ 25919 w 51323"/>
                <a:gd name="connsiteY56" fmla="*/ 14823 h 51323"/>
                <a:gd name="connsiteX57" fmla="*/ 25919 w 51323"/>
                <a:gd name="connsiteY57" fmla="*/ 14823 h 51323"/>
                <a:gd name="connsiteX58" fmla="*/ 25731 w 51323"/>
                <a:gd name="connsiteY58" fmla="*/ 14823 h 51323"/>
                <a:gd name="connsiteX59" fmla="*/ 25731 w 51323"/>
                <a:gd name="connsiteY59" fmla="*/ 14823 h 51323"/>
                <a:gd name="connsiteX60" fmla="*/ 25868 w 51323"/>
                <a:gd name="connsiteY60" fmla="*/ 14737 h 51323"/>
                <a:gd name="connsiteX61" fmla="*/ 25868 w 51323"/>
                <a:gd name="connsiteY61" fmla="*/ 14737 h 51323"/>
                <a:gd name="connsiteX62" fmla="*/ 25868 w 51323"/>
                <a:gd name="connsiteY62" fmla="*/ 14737 h 51323"/>
                <a:gd name="connsiteX63" fmla="*/ 25868 w 51323"/>
                <a:gd name="connsiteY63" fmla="*/ 14737 h 51323"/>
                <a:gd name="connsiteX64" fmla="*/ 25868 w 51323"/>
                <a:gd name="connsiteY64" fmla="*/ 14737 h 51323"/>
                <a:gd name="connsiteX65" fmla="*/ 25868 w 51323"/>
                <a:gd name="connsiteY65" fmla="*/ 14737 h 51323"/>
                <a:gd name="connsiteX66" fmla="*/ 25868 w 51323"/>
                <a:gd name="connsiteY66" fmla="*/ 14652 h 51323"/>
                <a:gd name="connsiteX67" fmla="*/ 25868 w 51323"/>
                <a:gd name="connsiteY67" fmla="*/ 14652 h 51323"/>
                <a:gd name="connsiteX68" fmla="*/ 25868 w 51323"/>
                <a:gd name="connsiteY68" fmla="*/ 14514 h 51323"/>
                <a:gd name="connsiteX69" fmla="*/ 25868 w 51323"/>
                <a:gd name="connsiteY69" fmla="*/ 14514 h 51323"/>
                <a:gd name="connsiteX70" fmla="*/ 25868 w 51323"/>
                <a:gd name="connsiteY70" fmla="*/ 14514 h 51323"/>
                <a:gd name="connsiteX71" fmla="*/ 25971 w 51323"/>
                <a:gd name="connsiteY71" fmla="*/ 14514 h 51323"/>
                <a:gd name="connsiteX72" fmla="*/ 25971 w 51323"/>
                <a:gd name="connsiteY72" fmla="*/ 14428 h 51323"/>
                <a:gd name="connsiteX73" fmla="*/ 26126 w 51323"/>
                <a:gd name="connsiteY73" fmla="*/ 14291 h 51323"/>
                <a:gd name="connsiteX74" fmla="*/ 26126 w 51323"/>
                <a:gd name="connsiteY74" fmla="*/ 14291 h 51323"/>
                <a:gd name="connsiteX75" fmla="*/ 26126 w 51323"/>
                <a:gd name="connsiteY75" fmla="*/ 14531 h 51323"/>
                <a:gd name="connsiteX76" fmla="*/ 26126 w 51323"/>
                <a:gd name="connsiteY76" fmla="*/ 14531 h 51323"/>
                <a:gd name="connsiteX77" fmla="*/ 26486 w 51323"/>
                <a:gd name="connsiteY77" fmla="*/ 14531 h 51323"/>
                <a:gd name="connsiteX78" fmla="*/ 26263 w 51323"/>
                <a:gd name="connsiteY78" fmla="*/ 14995 h 51323"/>
                <a:gd name="connsiteX79" fmla="*/ 26263 w 51323"/>
                <a:gd name="connsiteY79" fmla="*/ 14995 h 51323"/>
                <a:gd name="connsiteX80" fmla="*/ 26005 w 51323"/>
                <a:gd name="connsiteY80" fmla="*/ 14995 h 51323"/>
                <a:gd name="connsiteX81" fmla="*/ 26224 w 51323"/>
                <a:gd name="connsiteY81" fmla="*/ 15000 h 51323"/>
                <a:gd name="connsiteX82" fmla="*/ 26229 w 51323"/>
                <a:gd name="connsiteY82" fmla="*/ 14995 h 51323"/>
                <a:gd name="connsiteX83" fmla="*/ 26589 w 51323"/>
                <a:gd name="connsiteY83" fmla="*/ 15579 h 51323"/>
                <a:gd name="connsiteX84" fmla="*/ 26967 w 51323"/>
                <a:gd name="connsiteY84" fmla="*/ 15613 h 51323"/>
                <a:gd name="connsiteX85" fmla="*/ 18138 w 51323"/>
                <a:gd name="connsiteY85" fmla="*/ 47476 h 51323"/>
                <a:gd name="connsiteX86" fmla="*/ 18138 w 51323"/>
                <a:gd name="connsiteY86" fmla="*/ 47476 h 51323"/>
                <a:gd name="connsiteX87" fmla="*/ 18138 w 51323"/>
                <a:gd name="connsiteY87" fmla="*/ 47476 h 51323"/>
                <a:gd name="connsiteX88" fmla="*/ 18138 w 51323"/>
                <a:gd name="connsiteY88" fmla="*/ 47476 h 51323"/>
                <a:gd name="connsiteX89" fmla="*/ 18224 w 51323"/>
                <a:gd name="connsiteY89" fmla="*/ 47476 h 51323"/>
                <a:gd name="connsiteX90" fmla="*/ 18224 w 51323"/>
                <a:gd name="connsiteY90" fmla="*/ 47476 h 51323"/>
                <a:gd name="connsiteX91" fmla="*/ 17984 w 51323"/>
                <a:gd name="connsiteY91" fmla="*/ 47338 h 51323"/>
                <a:gd name="connsiteX92" fmla="*/ 17984 w 51323"/>
                <a:gd name="connsiteY92" fmla="*/ 47338 h 51323"/>
                <a:gd name="connsiteX93" fmla="*/ 17984 w 51323"/>
                <a:gd name="connsiteY93" fmla="*/ 47338 h 51323"/>
                <a:gd name="connsiteX94" fmla="*/ 18070 w 51323"/>
                <a:gd name="connsiteY94" fmla="*/ 47338 h 51323"/>
                <a:gd name="connsiteX95" fmla="*/ 18070 w 51323"/>
                <a:gd name="connsiteY95" fmla="*/ 47338 h 51323"/>
                <a:gd name="connsiteX96" fmla="*/ 18070 w 51323"/>
                <a:gd name="connsiteY96" fmla="*/ 47338 h 51323"/>
                <a:gd name="connsiteX97" fmla="*/ 17795 w 51323"/>
                <a:gd name="connsiteY97" fmla="*/ 47218 h 51323"/>
                <a:gd name="connsiteX98" fmla="*/ 17795 w 51323"/>
                <a:gd name="connsiteY98" fmla="*/ 47218 h 51323"/>
                <a:gd name="connsiteX99" fmla="*/ 17795 w 51323"/>
                <a:gd name="connsiteY99" fmla="*/ 47218 h 51323"/>
                <a:gd name="connsiteX100" fmla="*/ 17692 w 51323"/>
                <a:gd name="connsiteY100" fmla="*/ 47218 h 51323"/>
                <a:gd name="connsiteX101" fmla="*/ 17692 w 51323"/>
                <a:gd name="connsiteY101" fmla="*/ 47218 h 51323"/>
                <a:gd name="connsiteX102" fmla="*/ 17692 w 51323"/>
                <a:gd name="connsiteY102" fmla="*/ 47218 h 51323"/>
                <a:gd name="connsiteX103" fmla="*/ 17692 w 51323"/>
                <a:gd name="connsiteY103" fmla="*/ 47218 h 51323"/>
                <a:gd name="connsiteX104" fmla="*/ 17864 w 51323"/>
                <a:gd name="connsiteY104" fmla="*/ 47218 h 51323"/>
                <a:gd name="connsiteX105" fmla="*/ 17658 w 51323"/>
                <a:gd name="connsiteY105" fmla="*/ 47218 h 51323"/>
                <a:gd name="connsiteX106" fmla="*/ 17658 w 51323"/>
                <a:gd name="connsiteY106" fmla="*/ 47218 h 51323"/>
                <a:gd name="connsiteX107" fmla="*/ 17417 w 51323"/>
                <a:gd name="connsiteY107" fmla="*/ 47115 h 51323"/>
                <a:gd name="connsiteX108" fmla="*/ 17417 w 51323"/>
                <a:gd name="connsiteY108" fmla="*/ 47115 h 51323"/>
                <a:gd name="connsiteX109" fmla="*/ 17417 w 51323"/>
                <a:gd name="connsiteY109" fmla="*/ 47115 h 51323"/>
                <a:gd name="connsiteX110" fmla="*/ 17280 w 51323"/>
                <a:gd name="connsiteY110" fmla="*/ 47115 h 51323"/>
                <a:gd name="connsiteX111" fmla="*/ 17469 w 51323"/>
                <a:gd name="connsiteY111" fmla="*/ 47218 h 51323"/>
                <a:gd name="connsiteX112" fmla="*/ 17194 w 51323"/>
                <a:gd name="connsiteY112" fmla="*/ 47081 h 51323"/>
                <a:gd name="connsiteX113" fmla="*/ 17194 w 51323"/>
                <a:gd name="connsiteY113" fmla="*/ 47081 h 51323"/>
                <a:gd name="connsiteX114" fmla="*/ 17366 w 51323"/>
                <a:gd name="connsiteY114" fmla="*/ 47081 h 51323"/>
                <a:gd name="connsiteX115" fmla="*/ 17228 w 51323"/>
                <a:gd name="connsiteY115" fmla="*/ 47081 h 51323"/>
                <a:gd name="connsiteX116" fmla="*/ 17366 w 51323"/>
                <a:gd name="connsiteY116" fmla="*/ 47081 h 51323"/>
                <a:gd name="connsiteX117" fmla="*/ 17108 w 51323"/>
                <a:gd name="connsiteY117" fmla="*/ 46961 h 51323"/>
                <a:gd name="connsiteX118" fmla="*/ 17108 w 51323"/>
                <a:gd name="connsiteY118" fmla="*/ 46961 h 51323"/>
                <a:gd name="connsiteX119" fmla="*/ 17005 w 51323"/>
                <a:gd name="connsiteY119" fmla="*/ 46961 h 51323"/>
                <a:gd name="connsiteX120" fmla="*/ 17005 w 51323"/>
                <a:gd name="connsiteY120" fmla="*/ 46961 h 51323"/>
                <a:gd name="connsiteX121" fmla="*/ 16782 w 51323"/>
                <a:gd name="connsiteY121" fmla="*/ 46858 h 51323"/>
                <a:gd name="connsiteX122" fmla="*/ 16782 w 51323"/>
                <a:gd name="connsiteY122" fmla="*/ 46858 h 51323"/>
                <a:gd name="connsiteX123" fmla="*/ 16696 w 51323"/>
                <a:gd name="connsiteY123" fmla="*/ 46858 h 51323"/>
                <a:gd name="connsiteX124" fmla="*/ 16696 w 51323"/>
                <a:gd name="connsiteY124" fmla="*/ 46858 h 51323"/>
                <a:gd name="connsiteX125" fmla="*/ 16301 w 51323"/>
                <a:gd name="connsiteY125" fmla="*/ 46651 h 51323"/>
                <a:gd name="connsiteX126" fmla="*/ 16301 w 51323"/>
                <a:gd name="connsiteY126" fmla="*/ 46651 h 51323"/>
                <a:gd name="connsiteX127" fmla="*/ 16129 w 51323"/>
                <a:gd name="connsiteY127" fmla="*/ 46548 h 51323"/>
                <a:gd name="connsiteX128" fmla="*/ 16283 w 51323"/>
                <a:gd name="connsiteY128" fmla="*/ 46651 h 51323"/>
                <a:gd name="connsiteX129" fmla="*/ 15940 w 51323"/>
                <a:gd name="connsiteY129" fmla="*/ 46462 h 51323"/>
                <a:gd name="connsiteX130" fmla="*/ 15940 w 51323"/>
                <a:gd name="connsiteY130" fmla="*/ 46462 h 51323"/>
                <a:gd name="connsiteX131" fmla="*/ 15837 w 51323"/>
                <a:gd name="connsiteY131" fmla="*/ 46462 h 51323"/>
                <a:gd name="connsiteX132" fmla="*/ 15837 w 51323"/>
                <a:gd name="connsiteY132" fmla="*/ 46462 h 51323"/>
                <a:gd name="connsiteX133" fmla="*/ 15665 w 51323"/>
                <a:gd name="connsiteY133" fmla="*/ 46359 h 51323"/>
                <a:gd name="connsiteX134" fmla="*/ 15665 w 51323"/>
                <a:gd name="connsiteY134" fmla="*/ 46359 h 51323"/>
                <a:gd name="connsiteX135" fmla="*/ 15665 w 51323"/>
                <a:gd name="connsiteY135" fmla="*/ 46359 h 51323"/>
                <a:gd name="connsiteX136" fmla="*/ 15665 w 51323"/>
                <a:gd name="connsiteY136" fmla="*/ 46359 h 51323"/>
                <a:gd name="connsiteX137" fmla="*/ 15510 w 51323"/>
                <a:gd name="connsiteY137" fmla="*/ 46274 h 51323"/>
                <a:gd name="connsiteX138" fmla="*/ 15510 w 51323"/>
                <a:gd name="connsiteY138" fmla="*/ 46274 h 51323"/>
                <a:gd name="connsiteX139" fmla="*/ 15339 w 51323"/>
                <a:gd name="connsiteY139" fmla="*/ 46153 h 51323"/>
                <a:gd name="connsiteX140" fmla="*/ 15339 w 51323"/>
                <a:gd name="connsiteY140" fmla="*/ 46153 h 51323"/>
                <a:gd name="connsiteX141" fmla="*/ 15201 w 51323"/>
                <a:gd name="connsiteY141" fmla="*/ 46153 h 51323"/>
                <a:gd name="connsiteX142" fmla="*/ 15201 w 51323"/>
                <a:gd name="connsiteY142" fmla="*/ 46153 h 51323"/>
                <a:gd name="connsiteX143" fmla="*/ 15081 w 51323"/>
                <a:gd name="connsiteY143" fmla="*/ 46153 h 51323"/>
                <a:gd name="connsiteX144" fmla="*/ 15081 w 51323"/>
                <a:gd name="connsiteY144" fmla="*/ 46153 h 51323"/>
                <a:gd name="connsiteX145" fmla="*/ 15218 w 51323"/>
                <a:gd name="connsiteY145" fmla="*/ 46239 h 51323"/>
                <a:gd name="connsiteX146" fmla="*/ 15081 w 51323"/>
                <a:gd name="connsiteY146" fmla="*/ 46153 h 51323"/>
                <a:gd name="connsiteX147" fmla="*/ 15081 w 51323"/>
                <a:gd name="connsiteY147" fmla="*/ 46153 h 51323"/>
                <a:gd name="connsiteX148" fmla="*/ 14961 w 51323"/>
                <a:gd name="connsiteY148" fmla="*/ 46153 h 51323"/>
                <a:gd name="connsiteX149" fmla="*/ 14961 w 51323"/>
                <a:gd name="connsiteY149" fmla="*/ 46153 h 51323"/>
                <a:gd name="connsiteX150" fmla="*/ 14823 w 51323"/>
                <a:gd name="connsiteY150" fmla="*/ 46067 h 51323"/>
                <a:gd name="connsiteX151" fmla="*/ 15012 w 51323"/>
                <a:gd name="connsiteY151" fmla="*/ 46170 h 51323"/>
                <a:gd name="connsiteX152" fmla="*/ 15184 w 51323"/>
                <a:gd name="connsiteY152" fmla="*/ 46274 h 51323"/>
                <a:gd name="connsiteX153" fmla="*/ 14720 w 51323"/>
                <a:gd name="connsiteY153" fmla="*/ 45947 h 51323"/>
                <a:gd name="connsiteX154" fmla="*/ 14720 w 51323"/>
                <a:gd name="connsiteY154" fmla="*/ 45947 h 51323"/>
                <a:gd name="connsiteX155" fmla="*/ 13879 w 51323"/>
                <a:gd name="connsiteY155" fmla="*/ 45312 h 51323"/>
                <a:gd name="connsiteX156" fmla="*/ 13982 w 51323"/>
                <a:gd name="connsiteY156" fmla="*/ 45312 h 51323"/>
                <a:gd name="connsiteX157" fmla="*/ 13827 w 51323"/>
                <a:gd name="connsiteY157" fmla="*/ 45191 h 51323"/>
                <a:gd name="connsiteX158" fmla="*/ 13827 w 51323"/>
                <a:gd name="connsiteY158" fmla="*/ 45191 h 51323"/>
                <a:gd name="connsiteX159" fmla="*/ 13724 w 51323"/>
                <a:gd name="connsiteY159" fmla="*/ 45191 h 51323"/>
                <a:gd name="connsiteX160" fmla="*/ 13724 w 51323"/>
                <a:gd name="connsiteY160" fmla="*/ 45191 h 51323"/>
                <a:gd name="connsiteX161" fmla="*/ 13724 w 51323"/>
                <a:gd name="connsiteY161" fmla="*/ 45191 h 51323"/>
                <a:gd name="connsiteX162" fmla="*/ 13724 w 51323"/>
                <a:gd name="connsiteY162" fmla="*/ 45191 h 51323"/>
                <a:gd name="connsiteX163" fmla="*/ 13106 w 51323"/>
                <a:gd name="connsiteY163" fmla="*/ 44710 h 51323"/>
                <a:gd name="connsiteX164" fmla="*/ 13106 w 51323"/>
                <a:gd name="connsiteY164" fmla="*/ 44710 h 51323"/>
                <a:gd name="connsiteX165" fmla="*/ 12316 w 51323"/>
                <a:gd name="connsiteY165" fmla="*/ 44023 h 51323"/>
                <a:gd name="connsiteX166" fmla="*/ 12316 w 51323"/>
                <a:gd name="connsiteY166" fmla="*/ 44023 h 51323"/>
                <a:gd name="connsiteX167" fmla="*/ 9567 w 51323"/>
                <a:gd name="connsiteY167" fmla="*/ 40434 h 51323"/>
                <a:gd name="connsiteX168" fmla="*/ 9567 w 51323"/>
                <a:gd name="connsiteY168" fmla="*/ 40434 h 51323"/>
                <a:gd name="connsiteX169" fmla="*/ 8021 w 51323"/>
                <a:gd name="connsiteY169" fmla="*/ 37788 h 51323"/>
                <a:gd name="connsiteX170" fmla="*/ 8021 w 51323"/>
                <a:gd name="connsiteY170" fmla="*/ 37788 h 51323"/>
                <a:gd name="connsiteX171" fmla="*/ 5840 w 51323"/>
                <a:gd name="connsiteY171" fmla="*/ 33494 h 51323"/>
                <a:gd name="connsiteX172" fmla="*/ 5840 w 51323"/>
                <a:gd name="connsiteY172" fmla="*/ 33580 h 51323"/>
                <a:gd name="connsiteX173" fmla="*/ 5840 w 51323"/>
                <a:gd name="connsiteY173" fmla="*/ 33477 h 51323"/>
                <a:gd name="connsiteX174" fmla="*/ 5840 w 51323"/>
                <a:gd name="connsiteY174" fmla="*/ 33614 h 51323"/>
                <a:gd name="connsiteX175" fmla="*/ 5222 w 51323"/>
                <a:gd name="connsiteY175" fmla="*/ 30299 h 51323"/>
                <a:gd name="connsiteX176" fmla="*/ 5222 w 51323"/>
                <a:gd name="connsiteY176" fmla="*/ 30042 h 51323"/>
                <a:gd name="connsiteX177" fmla="*/ 5222 w 51323"/>
                <a:gd name="connsiteY177" fmla="*/ 30128 h 51323"/>
                <a:gd name="connsiteX178" fmla="*/ 5067 w 51323"/>
                <a:gd name="connsiteY178" fmla="*/ 29784 h 51323"/>
                <a:gd name="connsiteX179" fmla="*/ 5067 w 51323"/>
                <a:gd name="connsiteY179" fmla="*/ 29784 h 51323"/>
                <a:gd name="connsiteX180" fmla="*/ 5067 w 51323"/>
                <a:gd name="connsiteY180" fmla="*/ 29784 h 51323"/>
                <a:gd name="connsiteX181" fmla="*/ 5067 w 51323"/>
                <a:gd name="connsiteY181" fmla="*/ 29544 h 51323"/>
                <a:gd name="connsiteX182" fmla="*/ 5067 w 51323"/>
                <a:gd name="connsiteY182" fmla="*/ 29715 h 51323"/>
                <a:gd name="connsiteX183" fmla="*/ 4844 w 51323"/>
                <a:gd name="connsiteY183" fmla="*/ 28908 h 51323"/>
                <a:gd name="connsiteX184" fmla="*/ 4844 w 51323"/>
                <a:gd name="connsiteY184" fmla="*/ 29183 h 51323"/>
                <a:gd name="connsiteX185" fmla="*/ 4552 w 51323"/>
                <a:gd name="connsiteY185" fmla="*/ 27843 h 51323"/>
                <a:gd name="connsiteX186" fmla="*/ 4552 w 51323"/>
                <a:gd name="connsiteY186" fmla="*/ 27740 h 51323"/>
                <a:gd name="connsiteX187" fmla="*/ 4552 w 51323"/>
                <a:gd name="connsiteY187" fmla="*/ 27740 h 51323"/>
                <a:gd name="connsiteX188" fmla="*/ 4552 w 51323"/>
                <a:gd name="connsiteY188" fmla="*/ 27740 h 51323"/>
                <a:gd name="connsiteX189" fmla="*/ 4552 w 51323"/>
                <a:gd name="connsiteY189" fmla="*/ 27740 h 51323"/>
                <a:gd name="connsiteX190" fmla="*/ 4208 w 51323"/>
                <a:gd name="connsiteY190" fmla="*/ 26297 h 51323"/>
                <a:gd name="connsiteX191" fmla="*/ 4208 w 51323"/>
                <a:gd name="connsiteY191" fmla="*/ 26503 h 51323"/>
                <a:gd name="connsiteX192" fmla="*/ 4208 w 51323"/>
                <a:gd name="connsiteY192" fmla="*/ 26297 h 51323"/>
                <a:gd name="connsiteX193" fmla="*/ 4208 w 51323"/>
                <a:gd name="connsiteY193" fmla="*/ 26297 h 51323"/>
                <a:gd name="connsiteX194" fmla="*/ 4208 w 51323"/>
                <a:gd name="connsiteY194" fmla="*/ 26297 h 51323"/>
                <a:gd name="connsiteX195" fmla="*/ 4208 w 51323"/>
                <a:gd name="connsiteY195" fmla="*/ 26297 h 51323"/>
                <a:gd name="connsiteX196" fmla="*/ 4208 w 51323"/>
                <a:gd name="connsiteY196" fmla="*/ 26297 h 51323"/>
                <a:gd name="connsiteX197" fmla="*/ 4208 w 51323"/>
                <a:gd name="connsiteY197" fmla="*/ 26400 h 51323"/>
                <a:gd name="connsiteX198" fmla="*/ 4208 w 51323"/>
                <a:gd name="connsiteY198" fmla="*/ 26400 h 51323"/>
                <a:gd name="connsiteX199" fmla="*/ 4208 w 51323"/>
                <a:gd name="connsiteY199" fmla="*/ 26400 h 51323"/>
                <a:gd name="connsiteX200" fmla="*/ 4208 w 51323"/>
                <a:gd name="connsiteY200" fmla="*/ 26400 h 51323"/>
                <a:gd name="connsiteX201" fmla="*/ 4208 w 51323"/>
                <a:gd name="connsiteY201" fmla="*/ 26091 h 51323"/>
                <a:gd name="connsiteX202" fmla="*/ 4208 w 51323"/>
                <a:gd name="connsiteY202" fmla="*/ 26091 h 51323"/>
                <a:gd name="connsiteX203" fmla="*/ 4208 w 51323"/>
                <a:gd name="connsiteY203" fmla="*/ 25919 h 51323"/>
                <a:gd name="connsiteX204" fmla="*/ 4208 w 51323"/>
                <a:gd name="connsiteY204" fmla="*/ 25919 h 51323"/>
                <a:gd name="connsiteX205" fmla="*/ 4208 w 51323"/>
                <a:gd name="connsiteY205" fmla="*/ 25198 h 51323"/>
                <a:gd name="connsiteX206" fmla="*/ 4208 w 51323"/>
                <a:gd name="connsiteY206" fmla="*/ 25198 h 51323"/>
                <a:gd name="connsiteX207" fmla="*/ 4208 w 51323"/>
                <a:gd name="connsiteY207" fmla="*/ 25078 h 51323"/>
                <a:gd name="connsiteX208" fmla="*/ 4208 w 51323"/>
                <a:gd name="connsiteY208" fmla="*/ 25078 h 51323"/>
                <a:gd name="connsiteX209" fmla="*/ 19787 w 51323"/>
                <a:gd name="connsiteY209" fmla="*/ 4706 h 51323"/>
                <a:gd name="connsiteX210" fmla="*/ 19787 w 51323"/>
                <a:gd name="connsiteY210" fmla="*/ 4706 h 51323"/>
                <a:gd name="connsiteX211" fmla="*/ 19994 w 51323"/>
                <a:gd name="connsiteY211" fmla="*/ 4706 h 51323"/>
                <a:gd name="connsiteX212" fmla="*/ 19994 w 51323"/>
                <a:gd name="connsiteY212" fmla="*/ 4706 h 51323"/>
                <a:gd name="connsiteX213" fmla="*/ 20217 w 51323"/>
                <a:gd name="connsiteY213" fmla="*/ 4706 h 51323"/>
                <a:gd name="connsiteX214" fmla="*/ 20062 w 51323"/>
                <a:gd name="connsiteY214" fmla="*/ 4706 h 51323"/>
                <a:gd name="connsiteX215" fmla="*/ 20337 w 51323"/>
                <a:gd name="connsiteY215" fmla="*/ 4706 h 51323"/>
                <a:gd name="connsiteX216" fmla="*/ 20234 w 51323"/>
                <a:gd name="connsiteY216" fmla="*/ 4706 h 51323"/>
                <a:gd name="connsiteX217" fmla="*/ 20234 w 51323"/>
                <a:gd name="connsiteY217" fmla="*/ 4706 h 51323"/>
                <a:gd name="connsiteX218" fmla="*/ 20423 w 51323"/>
                <a:gd name="connsiteY218" fmla="*/ 4706 h 51323"/>
                <a:gd name="connsiteX219" fmla="*/ 20423 w 51323"/>
                <a:gd name="connsiteY219" fmla="*/ 4706 h 51323"/>
                <a:gd name="connsiteX220" fmla="*/ 21711 w 51323"/>
                <a:gd name="connsiteY220" fmla="*/ 4414 h 51323"/>
                <a:gd name="connsiteX221" fmla="*/ 21711 w 51323"/>
                <a:gd name="connsiteY221" fmla="*/ 4414 h 51323"/>
                <a:gd name="connsiteX222" fmla="*/ 22038 w 51323"/>
                <a:gd name="connsiteY222" fmla="*/ 4414 h 51323"/>
                <a:gd name="connsiteX223" fmla="*/ 21814 w 51323"/>
                <a:gd name="connsiteY223" fmla="*/ 4414 h 51323"/>
                <a:gd name="connsiteX224" fmla="*/ 21814 w 51323"/>
                <a:gd name="connsiteY224" fmla="*/ 4414 h 51323"/>
                <a:gd name="connsiteX225" fmla="*/ 22415 w 51323"/>
                <a:gd name="connsiteY225" fmla="*/ 4414 h 51323"/>
                <a:gd name="connsiteX226" fmla="*/ 22415 w 51323"/>
                <a:gd name="connsiteY226" fmla="*/ 4414 h 51323"/>
                <a:gd name="connsiteX227" fmla="*/ 22106 w 51323"/>
                <a:gd name="connsiteY227" fmla="*/ 4414 h 51323"/>
                <a:gd name="connsiteX228" fmla="*/ 22398 w 51323"/>
                <a:gd name="connsiteY228" fmla="*/ 4414 h 51323"/>
                <a:gd name="connsiteX229" fmla="*/ 22398 w 51323"/>
                <a:gd name="connsiteY229" fmla="*/ 4414 h 51323"/>
                <a:gd name="connsiteX230" fmla="*/ 22690 w 51323"/>
                <a:gd name="connsiteY230" fmla="*/ 4414 h 51323"/>
                <a:gd name="connsiteX231" fmla="*/ 22587 w 51323"/>
                <a:gd name="connsiteY231" fmla="*/ 4414 h 51323"/>
                <a:gd name="connsiteX232" fmla="*/ 22484 w 51323"/>
                <a:gd name="connsiteY232" fmla="*/ 4414 h 51323"/>
                <a:gd name="connsiteX233" fmla="*/ 22725 w 51323"/>
                <a:gd name="connsiteY233" fmla="*/ 4414 h 51323"/>
                <a:gd name="connsiteX234" fmla="*/ 22347 w 51323"/>
                <a:gd name="connsiteY234" fmla="*/ 4414 h 51323"/>
                <a:gd name="connsiteX235" fmla="*/ 22244 w 51323"/>
                <a:gd name="connsiteY235" fmla="*/ 4414 h 51323"/>
                <a:gd name="connsiteX236" fmla="*/ 22055 w 51323"/>
                <a:gd name="connsiteY236" fmla="*/ 4414 h 51323"/>
                <a:gd name="connsiteX237" fmla="*/ 22415 w 51323"/>
                <a:gd name="connsiteY237" fmla="*/ 4414 h 51323"/>
                <a:gd name="connsiteX238" fmla="*/ 22020 w 51323"/>
                <a:gd name="connsiteY238" fmla="*/ 4414 h 51323"/>
                <a:gd name="connsiteX239" fmla="*/ 22020 w 51323"/>
                <a:gd name="connsiteY239" fmla="*/ 4414 h 51323"/>
                <a:gd name="connsiteX240" fmla="*/ 21608 w 51323"/>
                <a:gd name="connsiteY240" fmla="*/ 4414 h 51323"/>
                <a:gd name="connsiteX241" fmla="*/ 21608 w 51323"/>
                <a:gd name="connsiteY241" fmla="*/ 4414 h 51323"/>
                <a:gd name="connsiteX242" fmla="*/ 21213 w 51323"/>
                <a:gd name="connsiteY242" fmla="*/ 4500 h 51323"/>
                <a:gd name="connsiteX243" fmla="*/ 21385 w 51323"/>
                <a:gd name="connsiteY243" fmla="*/ 4500 h 51323"/>
                <a:gd name="connsiteX244" fmla="*/ 21385 w 51323"/>
                <a:gd name="connsiteY244" fmla="*/ 4500 h 51323"/>
                <a:gd name="connsiteX245" fmla="*/ 20973 w 51323"/>
                <a:gd name="connsiteY245" fmla="*/ 4586 h 51323"/>
                <a:gd name="connsiteX246" fmla="*/ 21144 w 51323"/>
                <a:gd name="connsiteY246" fmla="*/ 4586 h 51323"/>
                <a:gd name="connsiteX247" fmla="*/ 20955 w 51323"/>
                <a:gd name="connsiteY247" fmla="*/ 4586 h 51323"/>
                <a:gd name="connsiteX248" fmla="*/ 20955 w 51323"/>
                <a:gd name="connsiteY248" fmla="*/ 4586 h 51323"/>
                <a:gd name="connsiteX249" fmla="*/ 20835 w 51323"/>
                <a:gd name="connsiteY249" fmla="*/ 4586 h 51323"/>
                <a:gd name="connsiteX250" fmla="*/ 20835 w 51323"/>
                <a:gd name="connsiteY250" fmla="*/ 4586 h 51323"/>
                <a:gd name="connsiteX251" fmla="*/ 20835 w 51323"/>
                <a:gd name="connsiteY251" fmla="*/ 4586 h 51323"/>
                <a:gd name="connsiteX252" fmla="*/ 20835 w 51323"/>
                <a:gd name="connsiteY252" fmla="*/ 4586 h 51323"/>
                <a:gd name="connsiteX253" fmla="*/ 20835 w 51323"/>
                <a:gd name="connsiteY253" fmla="*/ 4586 h 51323"/>
                <a:gd name="connsiteX254" fmla="*/ 20663 w 51323"/>
                <a:gd name="connsiteY254" fmla="*/ 4586 h 51323"/>
                <a:gd name="connsiteX255" fmla="*/ 20663 w 51323"/>
                <a:gd name="connsiteY255" fmla="*/ 4586 h 51323"/>
                <a:gd name="connsiteX256" fmla="*/ 20663 w 51323"/>
                <a:gd name="connsiteY256" fmla="*/ 4586 h 51323"/>
                <a:gd name="connsiteX257" fmla="*/ 20663 w 51323"/>
                <a:gd name="connsiteY257" fmla="*/ 4586 h 51323"/>
                <a:gd name="connsiteX258" fmla="*/ 20560 w 51323"/>
                <a:gd name="connsiteY258" fmla="*/ 4586 h 51323"/>
                <a:gd name="connsiteX259" fmla="*/ 20560 w 51323"/>
                <a:gd name="connsiteY259" fmla="*/ 4586 h 51323"/>
                <a:gd name="connsiteX260" fmla="*/ 20114 w 51323"/>
                <a:gd name="connsiteY260" fmla="*/ 4706 h 51323"/>
                <a:gd name="connsiteX261" fmla="*/ 20114 w 51323"/>
                <a:gd name="connsiteY261" fmla="*/ 4706 h 51323"/>
                <a:gd name="connsiteX262" fmla="*/ 19787 w 51323"/>
                <a:gd name="connsiteY262" fmla="*/ 4827 h 51323"/>
                <a:gd name="connsiteX263" fmla="*/ 19787 w 51323"/>
                <a:gd name="connsiteY263" fmla="*/ 4827 h 51323"/>
                <a:gd name="connsiteX264" fmla="*/ 19392 w 51323"/>
                <a:gd name="connsiteY264" fmla="*/ 4947 h 51323"/>
                <a:gd name="connsiteX265" fmla="*/ 19392 w 51323"/>
                <a:gd name="connsiteY265" fmla="*/ 4947 h 51323"/>
                <a:gd name="connsiteX266" fmla="*/ 19100 w 51323"/>
                <a:gd name="connsiteY266" fmla="*/ 5153 h 51323"/>
                <a:gd name="connsiteX267" fmla="*/ 19100 w 51323"/>
                <a:gd name="connsiteY267" fmla="*/ 5153 h 51323"/>
                <a:gd name="connsiteX268" fmla="*/ 18997 w 51323"/>
                <a:gd name="connsiteY268" fmla="*/ 5153 h 51323"/>
                <a:gd name="connsiteX269" fmla="*/ 18997 w 51323"/>
                <a:gd name="connsiteY269" fmla="*/ 5153 h 51323"/>
                <a:gd name="connsiteX270" fmla="*/ 18430 w 51323"/>
                <a:gd name="connsiteY270" fmla="*/ 5359 h 51323"/>
                <a:gd name="connsiteX271" fmla="*/ 18568 w 51323"/>
                <a:gd name="connsiteY271" fmla="*/ 5359 h 51323"/>
                <a:gd name="connsiteX272" fmla="*/ 18568 w 51323"/>
                <a:gd name="connsiteY272" fmla="*/ 5359 h 51323"/>
                <a:gd name="connsiteX273" fmla="*/ 19169 w 51323"/>
                <a:gd name="connsiteY273" fmla="*/ 5187 h 51323"/>
                <a:gd name="connsiteX274" fmla="*/ 19169 w 51323"/>
                <a:gd name="connsiteY274" fmla="*/ 5187 h 51323"/>
                <a:gd name="connsiteX275" fmla="*/ 19341 w 51323"/>
                <a:gd name="connsiteY275" fmla="*/ 5187 h 51323"/>
                <a:gd name="connsiteX276" fmla="*/ 19461 w 51323"/>
                <a:gd name="connsiteY276" fmla="*/ 5187 h 51323"/>
                <a:gd name="connsiteX277" fmla="*/ 19186 w 51323"/>
                <a:gd name="connsiteY277" fmla="*/ 5187 h 51323"/>
                <a:gd name="connsiteX278" fmla="*/ 19186 w 51323"/>
                <a:gd name="connsiteY278" fmla="*/ 5187 h 51323"/>
                <a:gd name="connsiteX279" fmla="*/ 19032 w 51323"/>
                <a:gd name="connsiteY279" fmla="*/ 5187 h 51323"/>
                <a:gd name="connsiteX280" fmla="*/ 19032 w 51323"/>
                <a:gd name="connsiteY280" fmla="*/ 5187 h 51323"/>
                <a:gd name="connsiteX281" fmla="*/ 18911 w 51323"/>
                <a:gd name="connsiteY281" fmla="*/ 5187 h 51323"/>
                <a:gd name="connsiteX282" fmla="*/ 18911 w 51323"/>
                <a:gd name="connsiteY282" fmla="*/ 5187 h 51323"/>
                <a:gd name="connsiteX283" fmla="*/ 18740 w 51323"/>
                <a:gd name="connsiteY283" fmla="*/ 5187 h 51323"/>
                <a:gd name="connsiteX284" fmla="*/ 18740 w 51323"/>
                <a:gd name="connsiteY284" fmla="*/ 5187 h 51323"/>
                <a:gd name="connsiteX285" fmla="*/ 18894 w 51323"/>
                <a:gd name="connsiteY285" fmla="*/ 5187 h 51323"/>
                <a:gd name="connsiteX286" fmla="*/ 18894 w 51323"/>
                <a:gd name="connsiteY286" fmla="*/ 5187 h 51323"/>
                <a:gd name="connsiteX287" fmla="*/ 19049 w 51323"/>
                <a:gd name="connsiteY287" fmla="*/ 5187 h 51323"/>
                <a:gd name="connsiteX288" fmla="*/ 19049 w 51323"/>
                <a:gd name="connsiteY288" fmla="*/ 5187 h 51323"/>
                <a:gd name="connsiteX289" fmla="*/ 18860 w 51323"/>
                <a:gd name="connsiteY289" fmla="*/ 5187 h 51323"/>
                <a:gd name="connsiteX290" fmla="*/ 19032 w 51323"/>
                <a:gd name="connsiteY290" fmla="*/ 5187 h 51323"/>
                <a:gd name="connsiteX291" fmla="*/ 19186 w 51323"/>
                <a:gd name="connsiteY291" fmla="*/ 5187 h 51323"/>
                <a:gd name="connsiteX292" fmla="*/ 19289 w 51323"/>
                <a:gd name="connsiteY292" fmla="*/ 5187 h 51323"/>
                <a:gd name="connsiteX293" fmla="*/ 19650 w 51323"/>
                <a:gd name="connsiteY293" fmla="*/ 5084 h 51323"/>
                <a:gd name="connsiteX294" fmla="*/ 18482 w 51323"/>
                <a:gd name="connsiteY294" fmla="*/ 5497 h 51323"/>
                <a:gd name="connsiteX295" fmla="*/ 18654 w 51323"/>
                <a:gd name="connsiteY295" fmla="*/ 5497 h 51323"/>
                <a:gd name="connsiteX296" fmla="*/ 18654 w 51323"/>
                <a:gd name="connsiteY296" fmla="*/ 5497 h 51323"/>
                <a:gd name="connsiteX297" fmla="*/ 18740 w 51323"/>
                <a:gd name="connsiteY297" fmla="*/ 5497 h 51323"/>
                <a:gd name="connsiteX298" fmla="*/ 18894 w 51323"/>
                <a:gd name="connsiteY298" fmla="*/ 5497 h 51323"/>
                <a:gd name="connsiteX299" fmla="*/ 18894 w 51323"/>
                <a:gd name="connsiteY299" fmla="*/ 5497 h 51323"/>
                <a:gd name="connsiteX300" fmla="*/ 19032 w 51323"/>
                <a:gd name="connsiteY300" fmla="*/ 5497 h 51323"/>
                <a:gd name="connsiteX301" fmla="*/ 18722 w 51323"/>
                <a:gd name="connsiteY301" fmla="*/ 5617 h 51323"/>
                <a:gd name="connsiteX302" fmla="*/ 18722 w 51323"/>
                <a:gd name="connsiteY302" fmla="*/ 5617 h 51323"/>
                <a:gd name="connsiteX303" fmla="*/ 18585 w 51323"/>
                <a:gd name="connsiteY303" fmla="*/ 5617 h 51323"/>
                <a:gd name="connsiteX304" fmla="*/ 18585 w 51323"/>
                <a:gd name="connsiteY304" fmla="*/ 5617 h 51323"/>
                <a:gd name="connsiteX305" fmla="*/ 18413 w 51323"/>
                <a:gd name="connsiteY305" fmla="*/ 5617 h 51323"/>
                <a:gd name="connsiteX306" fmla="*/ 18688 w 51323"/>
                <a:gd name="connsiteY306" fmla="*/ 5617 h 51323"/>
                <a:gd name="connsiteX307" fmla="*/ 17743 w 51323"/>
                <a:gd name="connsiteY307" fmla="*/ 6098 h 51323"/>
                <a:gd name="connsiteX308" fmla="*/ 17743 w 51323"/>
                <a:gd name="connsiteY308" fmla="*/ 6098 h 51323"/>
                <a:gd name="connsiteX309" fmla="*/ 17554 w 51323"/>
                <a:gd name="connsiteY309" fmla="*/ 6201 h 51323"/>
                <a:gd name="connsiteX310" fmla="*/ 17743 w 51323"/>
                <a:gd name="connsiteY310" fmla="*/ 6201 h 51323"/>
                <a:gd name="connsiteX311" fmla="*/ 17743 w 51323"/>
                <a:gd name="connsiteY311" fmla="*/ 6201 h 51323"/>
                <a:gd name="connsiteX312" fmla="*/ 17743 w 51323"/>
                <a:gd name="connsiteY312" fmla="*/ 6201 h 51323"/>
                <a:gd name="connsiteX313" fmla="*/ 17159 w 51323"/>
                <a:gd name="connsiteY313" fmla="*/ 6476 h 51323"/>
                <a:gd name="connsiteX314" fmla="*/ 17159 w 51323"/>
                <a:gd name="connsiteY314" fmla="*/ 6476 h 51323"/>
                <a:gd name="connsiteX315" fmla="*/ 17039 w 51323"/>
                <a:gd name="connsiteY315" fmla="*/ 6476 h 51323"/>
                <a:gd name="connsiteX316" fmla="*/ 17039 w 51323"/>
                <a:gd name="connsiteY316" fmla="*/ 6476 h 51323"/>
                <a:gd name="connsiteX317" fmla="*/ 16867 w 51323"/>
                <a:gd name="connsiteY317" fmla="*/ 6579 h 51323"/>
                <a:gd name="connsiteX318" fmla="*/ 16867 w 51323"/>
                <a:gd name="connsiteY318" fmla="*/ 6579 h 51323"/>
                <a:gd name="connsiteX319" fmla="*/ 16730 w 51323"/>
                <a:gd name="connsiteY319" fmla="*/ 6716 h 51323"/>
                <a:gd name="connsiteX320" fmla="*/ 16730 w 51323"/>
                <a:gd name="connsiteY320" fmla="*/ 6716 h 51323"/>
                <a:gd name="connsiteX321" fmla="*/ 16730 w 51323"/>
                <a:gd name="connsiteY321" fmla="*/ 6716 h 51323"/>
                <a:gd name="connsiteX322" fmla="*/ 16730 w 51323"/>
                <a:gd name="connsiteY322" fmla="*/ 6716 h 51323"/>
                <a:gd name="connsiteX323" fmla="*/ 16730 w 51323"/>
                <a:gd name="connsiteY323" fmla="*/ 6716 h 51323"/>
                <a:gd name="connsiteX324" fmla="*/ 16885 w 51323"/>
                <a:gd name="connsiteY324" fmla="*/ 6716 h 51323"/>
                <a:gd name="connsiteX325" fmla="*/ 16627 w 51323"/>
                <a:gd name="connsiteY325" fmla="*/ 6853 h 51323"/>
                <a:gd name="connsiteX326" fmla="*/ 16627 w 51323"/>
                <a:gd name="connsiteY326" fmla="*/ 6853 h 51323"/>
                <a:gd name="connsiteX327" fmla="*/ 16386 w 51323"/>
                <a:gd name="connsiteY327" fmla="*/ 6991 h 51323"/>
                <a:gd name="connsiteX328" fmla="*/ 16558 w 51323"/>
                <a:gd name="connsiteY328" fmla="*/ 6991 h 51323"/>
                <a:gd name="connsiteX329" fmla="*/ 16077 w 51323"/>
                <a:gd name="connsiteY329" fmla="*/ 7266 h 51323"/>
                <a:gd name="connsiteX330" fmla="*/ 16077 w 51323"/>
                <a:gd name="connsiteY330" fmla="*/ 7266 h 51323"/>
                <a:gd name="connsiteX331" fmla="*/ 16077 w 51323"/>
                <a:gd name="connsiteY331" fmla="*/ 7266 h 51323"/>
                <a:gd name="connsiteX332" fmla="*/ 16833 w 51323"/>
                <a:gd name="connsiteY332" fmla="*/ 6888 h 51323"/>
                <a:gd name="connsiteX333" fmla="*/ 16833 w 51323"/>
                <a:gd name="connsiteY333" fmla="*/ 6888 h 51323"/>
                <a:gd name="connsiteX334" fmla="*/ 16833 w 51323"/>
                <a:gd name="connsiteY334" fmla="*/ 6888 h 51323"/>
                <a:gd name="connsiteX335" fmla="*/ 16833 w 51323"/>
                <a:gd name="connsiteY335" fmla="*/ 6888 h 51323"/>
                <a:gd name="connsiteX336" fmla="*/ 16936 w 51323"/>
                <a:gd name="connsiteY336" fmla="*/ 6888 h 51323"/>
                <a:gd name="connsiteX337" fmla="*/ 16833 w 51323"/>
                <a:gd name="connsiteY337" fmla="*/ 6888 h 51323"/>
                <a:gd name="connsiteX338" fmla="*/ 17056 w 51323"/>
                <a:gd name="connsiteY338" fmla="*/ 6785 h 51323"/>
                <a:gd name="connsiteX339" fmla="*/ 17056 w 51323"/>
                <a:gd name="connsiteY339" fmla="*/ 6785 h 51323"/>
                <a:gd name="connsiteX340" fmla="*/ 17159 w 51323"/>
                <a:gd name="connsiteY340" fmla="*/ 6785 h 51323"/>
                <a:gd name="connsiteX341" fmla="*/ 17039 w 51323"/>
                <a:gd name="connsiteY341" fmla="*/ 6785 h 51323"/>
                <a:gd name="connsiteX342" fmla="*/ 17142 w 51323"/>
                <a:gd name="connsiteY342" fmla="*/ 6785 h 51323"/>
                <a:gd name="connsiteX343" fmla="*/ 17022 w 51323"/>
                <a:gd name="connsiteY343" fmla="*/ 6785 h 51323"/>
                <a:gd name="connsiteX344" fmla="*/ 17022 w 51323"/>
                <a:gd name="connsiteY344" fmla="*/ 6785 h 51323"/>
                <a:gd name="connsiteX345" fmla="*/ 16885 w 51323"/>
                <a:gd name="connsiteY345" fmla="*/ 6785 h 51323"/>
                <a:gd name="connsiteX346" fmla="*/ 17005 w 51323"/>
                <a:gd name="connsiteY346" fmla="*/ 6785 h 51323"/>
                <a:gd name="connsiteX347" fmla="*/ 17314 w 51323"/>
                <a:gd name="connsiteY347" fmla="*/ 6785 h 51323"/>
                <a:gd name="connsiteX348" fmla="*/ 17314 w 51323"/>
                <a:gd name="connsiteY348" fmla="*/ 6785 h 51323"/>
                <a:gd name="connsiteX349" fmla="*/ 16696 w 51323"/>
                <a:gd name="connsiteY349" fmla="*/ 7145 h 51323"/>
                <a:gd name="connsiteX350" fmla="*/ 16696 w 51323"/>
                <a:gd name="connsiteY350" fmla="*/ 7145 h 51323"/>
                <a:gd name="connsiteX351" fmla="*/ 16696 w 51323"/>
                <a:gd name="connsiteY351" fmla="*/ 7145 h 51323"/>
                <a:gd name="connsiteX352" fmla="*/ 16696 w 51323"/>
                <a:gd name="connsiteY352" fmla="*/ 7145 h 51323"/>
                <a:gd name="connsiteX353" fmla="*/ 16696 w 51323"/>
                <a:gd name="connsiteY353" fmla="*/ 7145 h 51323"/>
                <a:gd name="connsiteX354" fmla="*/ 16696 w 51323"/>
                <a:gd name="connsiteY354" fmla="*/ 7145 h 51323"/>
                <a:gd name="connsiteX355" fmla="*/ 16696 w 51323"/>
                <a:gd name="connsiteY355" fmla="*/ 7145 h 51323"/>
                <a:gd name="connsiteX356" fmla="*/ 16455 w 51323"/>
                <a:gd name="connsiteY356" fmla="*/ 7300 h 51323"/>
                <a:gd name="connsiteX357" fmla="*/ 16455 w 51323"/>
                <a:gd name="connsiteY357" fmla="*/ 7300 h 51323"/>
                <a:gd name="connsiteX358" fmla="*/ 16455 w 51323"/>
                <a:gd name="connsiteY358" fmla="*/ 7386 h 51323"/>
                <a:gd name="connsiteX359" fmla="*/ 16610 w 51323"/>
                <a:gd name="connsiteY359" fmla="*/ 7386 h 51323"/>
                <a:gd name="connsiteX360" fmla="*/ 16610 w 51323"/>
                <a:gd name="connsiteY360" fmla="*/ 7386 h 51323"/>
                <a:gd name="connsiteX361" fmla="*/ 16610 w 51323"/>
                <a:gd name="connsiteY361" fmla="*/ 7489 h 51323"/>
                <a:gd name="connsiteX362" fmla="*/ 16610 w 51323"/>
                <a:gd name="connsiteY362" fmla="*/ 7489 h 51323"/>
                <a:gd name="connsiteX363" fmla="*/ 16610 w 51323"/>
                <a:gd name="connsiteY363" fmla="*/ 7489 h 51323"/>
                <a:gd name="connsiteX364" fmla="*/ 16610 w 51323"/>
                <a:gd name="connsiteY364" fmla="*/ 7592 h 51323"/>
                <a:gd name="connsiteX365" fmla="*/ 16970 w 51323"/>
                <a:gd name="connsiteY365" fmla="*/ 7334 h 51323"/>
                <a:gd name="connsiteX366" fmla="*/ 16970 w 51323"/>
                <a:gd name="connsiteY366" fmla="*/ 7334 h 51323"/>
                <a:gd name="connsiteX367" fmla="*/ 17108 w 51323"/>
                <a:gd name="connsiteY367" fmla="*/ 7334 h 51323"/>
                <a:gd name="connsiteX368" fmla="*/ 17245 w 51323"/>
                <a:gd name="connsiteY368" fmla="*/ 7334 h 51323"/>
                <a:gd name="connsiteX369" fmla="*/ 17142 w 51323"/>
                <a:gd name="connsiteY369" fmla="*/ 7334 h 51323"/>
                <a:gd name="connsiteX370" fmla="*/ 17142 w 51323"/>
                <a:gd name="connsiteY370" fmla="*/ 7334 h 51323"/>
                <a:gd name="connsiteX371" fmla="*/ 16988 w 51323"/>
                <a:gd name="connsiteY371" fmla="*/ 7437 h 51323"/>
                <a:gd name="connsiteX372" fmla="*/ 16988 w 51323"/>
                <a:gd name="connsiteY372" fmla="*/ 7437 h 51323"/>
                <a:gd name="connsiteX373" fmla="*/ 16867 w 51323"/>
                <a:gd name="connsiteY373" fmla="*/ 7437 h 51323"/>
                <a:gd name="connsiteX374" fmla="*/ 16610 w 51323"/>
                <a:gd name="connsiteY374" fmla="*/ 7575 h 51323"/>
                <a:gd name="connsiteX375" fmla="*/ 16610 w 51323"/>
                <a:gd name="connsiteY375" fmla="*/ 7575 h 51323"/>
                <a:gd name="connsiteX376" fmla="*/ 16421 w 51323"/>
                <a:gd name="connsiteY376" fmla="*/ 7678 h 51323"/>
                <a:gd name="connsiteX377" fmla="*/ 16421 w 51323"/>
                <a:gd name="connsiteY377" fmla="*/ 7678 h 51323"/>
                <a:gd name="connsiteX378" fmla="*/ 16283 w 51323"/>
                <a:gd name="connsiteY378" fmla="*/ 7678 h 51323"/>
                <a:gd name="connsiteX379" fmla="*/ 16283 w 51323"/>
                <a:gd name="connsiteY379" fmla="*/ 7678 h 51323"/>
                <a:gd name="connsiteX380" fmla="*/ 16283 w 51323"/>
                <a:gd name="connsiteY380" fmla="*/ 7678 h 51323"/>
                <a:gd name="connsiteX381" fmla="*/ 16129 w 51323"/>
                <a:gd name="connsiteY381" fmla="*/ 7678 h 51323"/>
                <a:gd name="connsiteX382" fmla="*/ 16129 w 51323"/>
                <a:gd name="connsiteY382" fmla="*/ 7678 h 51323"/>
                <a:gd name="connsiteX383" fmla="*/ 16129 w 51323"/>
                <a:gd name="connsiteY383" fmla="*/ 7678 h 51323"/>
                <a:gd name="connsiteX384" fmla="*/ 16129 w 51323"/>
                <a:gd name="connsiteY384" fmla="*/ 7678 h 51323"/>
                <a:gd name="connsiteX385" fmla="*/ 15820 w 51323"/>
                <a:gd name="connsiteY385" fmla="*/ 7867 h 51323"/>
                <a:gd name="connsiteX386" fmla="*/ 16043 w 51323"/>
                <a:gd name="connsiteY386" fmla="*/ 7747 h 51323"/>
                <a:gd name="connsiteX387" fmla="*/ 16043 w 51323"/>
                <a:gd name="connsiteY387" fmla="*/ 7747 h 51323"/>
                <a:gd name="connsiteX388" fmla="*/ 16318 w 51323"/>
                <a:gd name="connsiteY388" fmla="*/ 7644 h 51323"/>
                <a:gd name="connsiteX389" fmla="*/ 16198 w 51323"/>
                <a:gd name="connsiteY389" fmla="*/ 7644 h 51323"/>
                <a:gd name="connsiteX390" fmla="*/ 16747 w 51323"/>
                <a:gd name="connsiteY390" fmla="*/ 7352 h 51323"/>
                <a:gd name="connsiteX391" fmla="*/ 16747 w 51323"/>
                <a:gd name="connsiteY391" fmla="*/ 7352 h 51323"/>
                <a:gd name="connsiteX392" fmla="*/ 16747 w 51323"/>
                <a:gd name="connsiteY392" fmla="*/ 7352 h 51323"/>
                <a:gd name="connsiteX393" fmla="*/ 17400 w 51323"/>
                <a:gd name="connsiteY393" fmla="*/ 7077 h 51323"/>
                <a:gd name="connsiteX394" fmla="*/ 17262 w 51323"/>
                <a:gd name="connsiteY394" fmla="*/ 7077 h 51323"/>
                <a:gd name="connsiteX395" fmla="*/ 17262 w 51323"/>
                <a:gd name="connsiteY395" fmla="*/ 7077 h 51323"/>
                <a:gd name="connsiteX396" fmla="*/ 17520 w 51323"/>
                <a:gd name="connsiteY396" fmla="*/ 6991 h 51323"/>
                <a:gd name="connsiteX397" fmla="*/ 17846 w 51323"/>
                <a:gd name="connsiteY397" fmla="*/ 6768 h 51323"/>
                <a:gd name="connsiteX398" fmla="*/ 17846 w 51323"/>
                <a:gd name="connsiteY398" fmla="*/ 6768 h 51323"/>
                <a:gd name="connsiteX399" fmla="*/ 17846 w 51323"/>
                <a:gd name="connsiteY399" fmla="*/ 6768 h 51323"/>
                <a:gd name="connsiteX400" fmla="*/ 18482 w 51323"/>
                <a:gd name="connsiteY400" fmla="*/ 6476 h 51323"/>
                <a:gd name="connsiteX401" fmla="*/ 18482 w 51323"/>
                <a:gd name="connsiteY401" fmla="*/ 6476 h 51323"/>
                <a:gd name="connsiteX402" fmla="*/ 19066 w 51323"/>
                <a:gd name="connsiteY402" fmla="*/ 6235 h 51323"/>
                <a:gd name="connsiteX403" fmla="*/ 18911 w 51323"/>
                <a:gd name="connsiteY403" fmla="*/ 6321 h 51323"/>
                <a:gd name="connsiteX404" fmla="*/ 19427 w 51323"/>
                <a:gd name="connsiteY404" fmla="*/ 6115 h 51323"/>
                <a:gd name="connsiteX405" fmla="*/ 19238 w 51323"/>
                <a:gd name="connsiteY405" fmla="*/ 6252 h 51323"/>
                <a:gd name="connsiteX406" fmla="*/ 20303 w 51323"/>
                <a:gd name="connsiteY406" fmla="*/ 5909 h 51323"/>
                <a:gd name="connsiteX407" fmla="*/ 21024 w 51323"/>
                <a:gd name="connsiteY407" fmla="*/ 5651 h 51323"/>
                <a:gd name="connsiteX408" fmla="*/ 20303 w 51323"/>
                <a:gd name="connsiteY408" fmla="*/ 6149 h 51323"/>
                <a:gd name="connsiteX409" fmla="*/ 20303 w 51323"/>
                <a:gd name="connsiteY409" fmla="*/ 6149 h 51323"/>
                <a:gd name="connsiteX410" fmla="*/ 20406 w 51323"/>
                <a:gd name="connsiteY410" fmla="*/ 6149 h 51323"/>
                <a:gd name="connsiteX411" fmla="*/ 20492 w 51323"/>
                <a:gd name="connsiteY411" fmla="*/ 6235 h 51323"/>
                <a:gd name="connsiteX412" fmla="*/ 20354 w 51323"/>
                <a:gd name="connsiteY412" fmla="*/ 6235 h 51323"/>
                <a:gd name="connsiteX413" fmla="*/ 20165 w 51323"/>
                <a:gd name="connsiteY413" fmla="*/ 6355 h 51323"/>
                <a:gd name="connsiteX414" fmla="*/ 20337 w 51323"/>
                <a:gd name="connsiteY414" fmla="*/ 6355 h 51323"/>
                <a:gd name="connsiteX415" fmla="*/ 19856 w 51323"/>
                <a:gd name="connsiteY415" fmla="*/ 6716 h 51323"/>
                <a:gd name="connsiteX416" fmla="*/ 20097 w 51323"/>
                <a:gd name="connsiteY416" fmla="*/ 6716 h 51323"/>
                <a:gd name="connsiteX417" fmla="*/ 19667 w 51323"/>
                <a:gd name="connsiteY417" fmla="*/ 6939 h 51323"/>
                <a:gd name="connsiteX418" fmla="*/ 19495 w 51323"/>
                <a:gd name="connsiteY418" fmla="*/ 7145 h 51323"/>
                <a:gd name="connsiteX419" fmla="*/ 19358 w 51323"/>
                <a:gd name="connsiteY419" fmla="*/ 7266 h 51323"/>
                <a:gd name="connsiteX420" fmla="*/ 19358 w 51323"/>
                <a:gd name="connsiteY420" fmla="*/ 7352 h 51323"/>
                <a:gd name="connsiteX421" fmla="*/ 19358 w 51323"/>
                <a:gd name="connsiteY421" fmla="*/ 7523 h 51323"/>
                <a:gd name="connsiteX422" fmla="*/ 19049 w 51323"/>
                <a:gd name="connsiteY422" fmla="*/ 7626 h 51323"/>
                <a:gd name="connsiteX423" fmla="*/ 18860 w 51323"/>
                <a:gd name="connsiteY423" fmla="*/ 7918 h 51323"/>
                <a:gd name="connsiteX424" fmla="*/ 18860 w 51323"/>
                <a:gd name="connsiteY424" fmla="*/ 8039 h 51323"/>
                <a:gd name="connsiteX425" fmla="*/ 18705 w 51323"/>
                <a:gd name="connsiteY425" fmla="*/ 8399 h 51323"/>
                <a:gd name="connsiteX426" fmla="*/ 18551 w 51323"/>
                <a:gd name="connsiteY426" fmla="*/ 8588 h 51323"/>
                <a:gd name="connsiteX427" fmla="*/ 18396 w 51323"/>
                <a:gd name="connsiteY427" fmla="*/ 8829 h 51323"/>
                <a:gd name="connsiteX428" fmla="*/ 18190 w 51323"/>
                <a:gd name="connsiteY428" fmla="*/ 8966 h 51323"/>
                <a:gd name="connsiteX429" fmla="*/ 18190 w 51323"/>
                <a:gd name="connsiteY429" fmla="*/ 8966 h 51323"/>
                <a:gd name="connsiteX430" fmla="*/ 17846 w 51323"/>
                <a:gd name="connsiteY430" fmla="*/ 9155 h 51323"/>
                <a:gd name="connsiteX431" fmla="*/ 18224 w 51323"/>
                <a:gd name="connsiteY431" fmla="*/ 8605 h 51323"/>
                <a:gd name="connsiteX432" fmla="*/ 18224 w 51323"/>
                <a:gd name="connsiteY432" fmla="*/ 8434 h 51323"/>
                <a:gd name="connsiteX433" fmla="*/ 18053 w 51323"/>
                <a:gd name="connsiteY433" fmla="*/ 8434 h 51323"/>
                <a:gd name="connsiteX434" fmla="*/ 17486 w 51323"/>
                <a:gd name="connsiteY434" fmla="*/ 9155 h 51323"/>
                <a:gd name="connsiteX435" fmla="*/ 16747 w 51323"/>
                <a:gd name="connsiteY435" fmla="*/ 9842 h 51323"/>
                <a:gd name="connsiteX436" fmla="*/ 16747 w 51323"/>
                <a:gd name="connsiteY436" fmla="*/ 9396 h 51323"/>
                <a:gd name="connsiteX437" fmla="*/ 16524 w 51323"/>
                <a:gd name="connsiteY437" fmla="*/ 10306 h 51323"/>
                <a:gd name="connsiteX438" fmla="*/ 16799 w 51323"/>
                <a:gd name="connsiteY438" fmla="*/ 9069 h 51323"/>
                <a:gd name="connsiteX439" fmla="*/ 16558 w 51323"/>
                <a:gd name="connsiteY439" fmla="*/ 9069 h 51323"/>
                <a:gd name="connsiteX440" fmla="*/ 16301 w 51323"/>
                <a:gd name="connsiteY440" fmla="*/ 9069 h 51323"/>
                <a:gd name="connsiteX441" fmla="*/ 16850 w 51323"/>
                <a:gd name="connsiteY441" fmla="*/ 8794 h 51323"/>
                <a:gd name="connsiteX442" fmla="*/ 19530 w 51323"/>
                <a:gd name="connsiteY442" fmla="*/ 6733 h 51323"/>
                <a:gd name="connsiteX443" fmla="*/ 18980 w 51323"/>
                <a:gd name="connsiteY443" fmla="*/ 6733 h 51323"/>
                <a:gd name="connsiteX444" fmla="*/ 18980 w 51323"/>
                <a:gd name="connsiteY444" fmla="*/ 6561 h 51323"/>
                <a:gd name="connsiteX445" fmla="*/ 18980 w 51323"/>
                <a:gd name="connsiteY445" fmla="*/ 6373 h 51323"/>
                <a:gd name="connsiteX446" fmla="*/ 19083 w 51323"/>
                <a:gd name="connsiteY446" fmla="*/ 6373 h 51323"/>
                <a:gd name="connsiteX447" fmla="*/ 18929 w 51323"/>
                <a:gd name="connsiteY447" fmla="*/ 6458 h 51323"/>
                <a:gd name="connsiteX448" fmla="*/ 18173 w 51323"/>
                <a:gd name="connsiteY448" fmla="*/ 6871 h 51323"/>
                <a:gd name="connsiteX449" fmla="*/ 18173 w 51323"/>
                <a:gd name="connsiteY449" fmla="*/ 6871 h 51323"/>
                <a:gd name="connsiteX450" fmla="*/ 18293 w 51323"/>
                <a:gd name="connsiteY450" fmla="*/ 6871 h 51323"/>
                <a:gd name="connsiteX451" fmla="*/ 18242 w 51323"/>
                <a:gd name="connsiteY451" fmla="*/ 6871 h 51323"/>
                <a:gd name="connsiteX452" fmla="*/ 18242 w 51323"/>
                <a:gd name="connsiteY452" fmla="*/ 6871 h 51323"/>
                <a:gd name="connsiteX453" fmla="*/ 17898 w 51323"/>
                <a:gd name="connsiteY453" fmla="*/ 7025 h 51323"/>
                <a:gd name="connsiteX454" fmla="*/ 17898 w 51323"/>
                <a:gd name="connsiteY454" fmla="*/ 7025 h 51323"/>
                <a:gd name="connsiteX455" fmla="*/ 17898 w 51323"/>
                <a:gd name="connsiteY455" fmla="*/ 7025 h 51323"/>
                <a:gd name="connsiteX456" fmla="*/ 18001 w 51323"/>
                <a:gd name="connsiteY456" fmla="*/ 7025 h 51323"/>
                <a:gd name="connsiteX457" fmla="*/ 18001 w 51323"/>
                <a:gd name="connsiteY457" fmla="*/ 7025 h 51323"/>
                <a:gd name="connsiteX458" fmla="*/ 18001 w 51323"/>
                <a:gd name="connsiteY458" fmla="*/ 7025 h 51323"/>
                <a:gd name="connsiteX459" fmla="*/ 17829 w 51323"/>
                <a:gd name="connsiteY459" fmla="*/ 7025 h 51323"/>
                <a:gd name="connsiteX460" fmla="*/ 17829 w 51323"/>
                <a:gd name="connsiteY460" fmla="*/ 7025 h 51323"/>
                <a:gd name="connsiteX461" fmla="*/ 17829 w 51323"/>
                <a:gd name="connsiteY461" fmla="*/ 7025 h 51323"/>
                <a:gd name="connsiteX462" fmla="*/ 17177 w 51323"/>
                <a:gd name="connsiteY462" fmla="*/ 7437 h 51323"/>
                <a:gd name="connsiteX463" fmla="*/ 17434 w 51323"/>
                <a:gd name="connsiteY463" fmla="*/ 7334 h 51323"/>
                <a:gd name="connsiteX464" fmla="*/ 17434 w 51323"/>
                <a:gd name="connsiteY464" fmla="*/ 7334 h 51323"/>
                <a:gd name="connsiteX465" fmla="*/ 17864 w 51323"/>
                <a:gd name="connsiteY465" fmla="*/ 7111 h 51323"/>
                <a:gd name="connsiteX466" fmla="*/ 17331 w 51323"/>
                <a:gd name="connsiteY466" fmla="*/ 7489 h 51323"/>
                <a:gd name="connsiteX467" fmla="*/ 17331 w 51323"/>
                <a:gd name="connsiteY467" fmla="*/ 7489 h 51323"/>
                <a:gd name="connsiteX468" fmla="*/ 16644 w 51323"/>
                <a:gd name="connsiteY468" fmla="*/ 7970 h 51323"/>
                <a:gd name="connsiteX469" fmla="*/ 16799 w 51323"/>
                <a:gd name="connsiteY469" fmla="*/ 7884 h 51323"/>
                <a:gd name="connsiteX470" fmla="*/ 16799 w 51323"/>
                <a:gd name="connsiteY470" fmla="*/ 7884 h 51323"/>
                <a:gd name="connsiteX471" fmla="*/ 17675 w 51323"/>
                <a:gd name="connsiteY471" fmla="*/ 7437 h 51323"/>
                <a:gd name="connsiteX472" fmla="*/ 17675 w 51323"/>
                <a:gd name="connsiteY472" fmla="*/ 7437 h 51323"/>
                <a:gd name="connsiteX473" fmla="*/ 17675 w 51323"/>
                <a:gd name="connsiteY473" fmla="*/ 7437 h 51323"/>
                <a:gd name="connsiteX474" fmla="*/ 17812 w 51323"/>
                <a:gd name="connsiteY474" fmla="*/ 7352 h 51323"/>
                <a:gd name="connsiteX475" fmla="*/ 17812 w 51323"/>
                <a:gd name="connsiteY475" fmla="*/ 7352 h 51323"/>
                <a:gd name="connsiteX476" fmla="*/ 17932 w 51323"/>
                <a:gd name="connsiteY476" fmla="*/ 7352 h 51323"/>
                <a:gd name="connsiteX477" fmla="*/ 17932 w 51323"/>
                <a:gd name="connsiteY477" fmla="*/ 7352 h 51323"/>
                <a:gd name="connsiteX478" fmla="*/ 18362 w 51323"/>
                <a:gd name="connsiteY478" fmla="*/ 7111 h 51323"/>
                <a:gd name="connsiteX479" fmla="*/ 18362 w 51323"/>
                <a:gd name="connsiteY479" fmla="*/ 7266 h 51323"/>
                <a:gd name="connsiteX480" fmla="*/ 18362 w 51323"/>
                <a:gd name="connsiteY480" fmla="*/ 7266 h 51323"/>
                <a:gd name="connsiteX481" fmla="*/ 18242 w 51323"/>
                <a:gd name="connsiteY481" fmla="*/ 7386 h 51323"/>
                <a:gd name="connsiteX482" fmla="*/ 18104 w 51323"/>
                <a:gd name="connsiteY482" fmla="*/ 7489 h 51323"/>
                <a:gd name="connsiteX483" fmla="*/ 17898 w 51323"/>
                <a:gd name="connsiteY483" fmla="*/ 7626 h 51323"/>
                <a:gd name="connsiteX484" fmla="*/ 17898 w 51323"/>
                <a:gd name="connsiteY484" fmla="*/ 7626 h 51323"/>
                <a:gd name="connsiteX485" fmla="*/ 17898 w 51323"/>
                <a:gd name="connsiteY485" fmla="*/ 7626 h 51323"/>
                <a:gd name="connsiteX486" fmla="*/ 17692 w 51323"/>
                <a:gd name="connsiteY486" fmla="*/ 7626 h 51323"/>
                <a:gd name="connsiteX487" fmla="*/ 17692 w 51323"/>
                <a:gd name="connsiteY487" fmla="*/ 7626 h 51323"/>
                <a:gd name="connsiteX488" fmla="*/ 17537 w 51323"/>
                <a:gd name="connsiteY488" fmla="*/ 7729 h 51323"/>
                <a:gd name="connsiteX489" fmla="*/ 17537 w 51323"/>
                <a:gd name="connsiteY489" fmla="*/ 7729 h 51323"/>
                <a:gd name="connsiteX490" fmla="*/ 17537 w 51323"/>
                <a:gd name="connsiteY490" fmla="*/ 7729 h 51323"/>
                <a:gd name="connsiteX491" fmla="*/ 16438 w 51323"/>
                <a:gd name="connsiteY491" fmla="*/ 8296 h 51323"/>
                <a:gd name="connsiteX492" fmla="*/ 16524 w 51323"/>
                <a:gd name="connsiteY492" fmla="*/ 8245 h 51323"/>
                <a:gd name="connsiteX493" fmla="*/ 16524 w 51323"/>
                <a:gd name="connsiteY493" fmla="*/ 8245 h 51323"/>
                <a:gd name="connsiteX494" fmla="*/ 16661 w 51323"/>
                <a:gd name="connsiteY494" fmla="*/ 8125 h 51323"/>
                <a:gd name="connsiteX495" fmla="*/ 16661 w 51323"/>
                <a:gd name="connsiteY495" fmla="*/ 8125 h 51323"/>
                <a:gd name="connsiteX496" fmla="*/ 16661 w 51323"/>
                <a:gd name="connsiteY496" fmla="*/ 8125 h 51323"/>
                <a:gd name="connsiteX497" fmla="*/ 16301 w 51323"/>
                <a:gd name="connsiteY497" fmla="*/ 8451 h 51323"/>
                <a:gd name="connsiteX498" fmla="*/ 16404 w 51323"/>
                <a:gd name="connsiteY498" fmla="*/ 8296 h 51323"/>
                <a:gd name="connsiteX499" fmla="*/ 16283 w 51323"/>
                <a:gd name="connsiteY499" fmla="*/ 8399 h 51323"/>
                <a:gd name="connsiteX500" fmla="*/ 16283 w 51323"/>
                <a:gd name="connsiteY500" fmla="*/ 8399 h 51323"/>
                <a:gd name="connsiteX501" fmla="*/ 16283 w 51323"/>
                <a:gd name="connsiteY501" fmla="*/ 8399 h 51323"/>
                <a:gd name="connsiteX502" fmla="*/ 16438 w 51323"/>
                <a:gd name="connsiteY502" fmla="*/ 8279 h 51323"/>
                <a:gd name="connsiteX503" fmla="*/ 16438 w 51323"/>
                <a:gd name="connsiteY503" fmla="*/ 8279 h 51323"/>
                <a:gd name="connsiteX504" fmla="*/ 16438 w 51323"/>
                <a:gd name="connsiteY504" fmla="*/ 8279 h 51323"/>
                <a:gd name="connsiteX505" fmla="*/ 16438 w 51323"/>
                <a:gd name="connsiteY505" fmla="*/ 8279 h 51323"/>
                <a:gd name="connsiteX506" fmla="*/ 15837 w 51323"/>
                <a:gd name="connsiteY506" fmla="*/ 8657 h 51323"/>
                <a:gd name="connsiteX507" fmla="*/ 15837 w 51323"/>
                <a:gd name="connsiteY507" fmla="*/ 8657 h 51323"/>
                <a:gd name="connsiteX508" fmla="*/ 15837 w 51323"/>
                <a:gd name="connsiteY508" fmla="*/ 8365 h 51323"/>
                <a:gd name="connsiteX509" fmla="*/ 15287 w 51323"/>
                <a:gd name="connsiteY509" fmla="*/ 8932 h 51323"/>
                <a:gd name="connsiteX510" fmla="*/ 15287 w 51323"/>
                <a:gd name="connsiteY510" fmla="*/ 8932 h 51323"/>
                <a:gd name="connsiteX511" fmla="*/ 14841 w 51323"/>
                <a:gd name="connsiteY511" fmla="*/ 9138 h 51323"/>
                <a:gd name="connsiteX512" fmla="*/ 14841 w 51323"/>
                <a:gd name="connsiteY512" fmla="*/ 9138 h 51323"/>
                <a:gd name="connsiteX513" fmla="*/ 14841 w 51323"/>
                <a:gd name="connsiteY513" fmla="*/ 9138 h 51323"/>
                <a:gd name="connsiteX514" fmla="*/ 14841 w 51323"/>
                <a:gd name="connsiteY514" fmla="*/ 9138 h 51323"/>
                <a:gd name="connsiteX515" fmla="*/ 14961 w 51323"/>
                <a:gd name="connsiteY515" fmla="*/ 9035 h 51323"/>
                <a:gd name="connsiteX516" fmla="*/ 14806 w 51323"/>
                <a:gd name="connsiteY516" fmla="*/ 9121 h 51323"/>
                <a:gd name="connsiteX517" fmla="*/ 14909 w 51323"/>
                <a:gd name="connsiteY517" fmla="*/ 9018 h 51323"/>
                <a:gd name="connsiteX518" fmla="*/ 14686 w 51323"/>
                <a:gd name="connsiteY518" fmla="*/ 9138 h 51323"/>
                <a:gd name="connsiteX519" fmla="*/ 14531 w 51323"/>
                <a:gd name="connsiteY519" fmla="*/ 9258 h 51323"/>
                <a:gd name="connsiteX520" fmla="*/ 14789 w 51323"/>
                <a:gd name="connsiteY520" fmla="*/ 8846 h 51323"/>
                <a:gd name="connsiteX521" fmla="*/ 14789 w 51323"/>
                <a:gd name="connsiteY521" fmla="*/ 8846 h 51323"/>
                <a:gd name="connsiteX522" fmla="*/ 14789 w 51323"/>
                <a:gd name="connsiteY522" fmla="*/ 8846 h 51323"/>
                <a:gd name="connsiteX523" fmla="*/ 14703 w 51323"/>
                <a:gd name="connsiteY523" fmla="*/ 8949 h 51323"/>
                <a:gd name="connsiteX524" fmla="*/ 14549 w 51323"/>
                <a:gd name="connsiteY524" fmla="*/ 9121 h 51323"/>
                <a:gd name="connsiteX525" fmla="*/ 14686 w 51323"/>
                <a:gd name="connsiteY525" fmla="*/ 9121 h 51323"/>
                <a:gd name="connsiteX526" fmla="*/ 14411 w 51323"/>
                <a:gd name="connsiteY526" fmla="*/ 9121 h 51323"/>
                <a:gd name="connsiteX527" fmla="*/ 14085 w 51323"/>
                <a:gd name="connsiteY527" fmla="*/ 9447 h 51323"/>
                <a:gd name="connsiteX528" fmla="*/ 14085 w 51323"/>
                <a:gd name="connsiteY528" fmla="*/ 9447 h 51323"/>
                <a:gd name="connsiteX529" fmla="*/ 14085 w 51323"/>
                <a:gd name="connsiteY529" fmla="*/ 9447 h 51323"/>
                <a:gd name="connsiteX530" fmla="*/ 14085 w 51323"/>
                <a:gd name="connsiteY530" fmla="*/ 9447 h 51323"/>
                <a:gd name="connsiteX531" fmla="*/ 13930 w 51323"/>
                <a:gd name="connsiteY531" fmla="*/ 9585 h 51323"/>
                <a:gd name="connsiteX532" fmla="*/ 13930 w 51323"/>
                <a:gd name="connsiteY532" fmla="*/ 9585 h 51323"/>
                <a:gd name="connsiteX533" fmla="*/ 13776 w 51323"/>
                <a:gd name="connsiteY533" fmla="*/ 9585 h 51323"/>
                <a:gd name="connsiteX534" fmla="*/ 13123 w 51323"/>
                <a:gd name="connsiteY534" fmla="*/ 9945 h 51323"/>
                <a:gd name="connsiteX535" fmla="*/ 13123 w 51323"/>
                <a:gd name="connsiteY535" fmla="*/ 9945 h 51323"/>
                <a:gd name="connsiteX536" fmla="*/ 11903 w 51323"/>
                <a:gd name="connsiteY536" fmla="*/ 10907 h 51323"/>
                <a:gd name="connsiteX537" fmla="*/ 11525 w 51323"/>
                <a:gd name="connsiteY537" fmla="*/ 11405 h 51323"/>
                <a:gd name="connsiteX538" fmla="*/ 11525 w 51323"/>
                <a:gd name="connsiteY538" fmla="*/ 12092 h 51323"/>
                <a:gd name="connsiteX539" fmla="*/ 11525 w 51323"/>
                <a:gd name="connsiteY539" fmla="*/ 12092 h 51323"/>
                <a:gd name="connsiteX540" fmla="*/ 11405 w 51323"/>
                <a:gd name="connsiteY540" fmla="*/ 12556 h 51323"/>
                <a:gd name="connsiteX541" fmla="*/ 11629 w 51323"/>
                <a:gd name="connsiteY541" fmla="*/ 12693 h 51323"/>
                <a:gd name="connsiteX542" fmla="*/ 11629 w 51323"/>
                <a:gd name="connsiteY542" fmla="*/ 12693 h 51323"/>
                <a:gd name="connsiteX543" fmla="*/ 10392 w 51323"/>
                <a:gd name="connsiteY543" fmla="*/ 14325 h 51323"/>
                <a:gd name="connsiteX544" fmla="*/ 10753 w 51323"/>
                <a:gd name="connsiteY544" fmla="*/ 14188 h 51323"/>
                <a:gd name="connsiteX545" fmla="*/ 10649 w 51323"/>
                <a:gd name="connsiteY545" fmla="*/ 14514 h 51323"/>
                <a:gd name="connsiteX546" fmla="*/ 12608 w 51323"/>
                <a:gd name="connsiteY546" fmla="*/ 12590 h 51323"/>
                <a:gd name="connsiteX547" fmla="*/ 13999 w 51323"/>
                <a:gd name="connsiteY547" fmla="*/ 11148 h 51323"/>
                <a:gd name="connsiteX548" fmla="*/ 13999 w 51323"/>
                <a:gd name="connsiteY548" fmla="*/ 11148 h 51323"/>
                <a:gd name="connsiteX549" fmla="*/ 14205 w 51323"/>
                <a:gd name="connsiteY549" fmla="*/ 10976 h 51323"/>
                <a:gd name="connsiteX550" fmla="*/ 14325 w 51323"/>
                <a:gd name="connsiteY550" fmla="*/ 10856 h 51323"/>
                <a:gd name="connsiteX551" fmla="*/ 15081 w 51323"/>
                <a:gd name="connsiteY551" fmla="*/ 10409 h 51323"/>
                <a:gd name="connsiteX552" fmla="*/ 15201 w 51323"/>
                <a:gd name="connsiteY552" fmla="*/ 10409 h 51323"/>
                <a:gd name="connsiteX553" fmla="*/ 15201 w 51323"/>
                <a:gd name="connsiteY553" fmla="*/ 10409 h 51323"/>
                <a:gd name="connsiteX554" fmla="*/ 15304 w 51323"/>
                <a:gd name="connsiteY554" fmla="*/ 10564 h 51323"/>
                <a:gd name="connsiteX555" fmla="*/ 15167 w 51323"/>
                <a:gd name="connsiteY555" fmla="*/ 10701 h 51323"/>
                <a:gd name="connsiteX556" fmla="*/ 15167 w 51323"/>
                <a:gd name="connsiteY556" fmla="*/ 10701 h 51323"/>
                <a:gd name="connsiteX557" fmla="*/ 15167 w 51323"/>
                <a:gd name="connsiteY557" fmla="*/ 10856 h 51323"/>
                <a:gd name="connsiteX558" fmla="*/ 15167 w 51323"/>
                <a:gd name="connsiteY558" fmla="*/ 10856 h 51323"/>
                <a:gd name="connsiteX559" fmla="*/ 15167 w 51323"/>
                <a:gd name="connsiteY559" fmla="*/ 10941 h 51323"/>
                <a:gd name="connsiteX560" fmla="*/ 15167 w 51323"/>
                <a:gd name="connsiteY560" fmla="*/ 10941 h 51323"/>
                <a:gd name="connsiteX561" fmla="*/ 15047 w 51323"/>
                <a:gd name="connsiteY561" fmla="*/ 11079 h 51323"/>
                <a:gd name="connsiteX562" fmla="*/ 15047 w 51323"/>
                <a:gd name="connsiteY562" fmla="*/ 11079 h 51323"/>
                <a:gd name="connsiteX563" fmla="*/ 15047 w 51323"/>
                <a:gd name="connsiteY563" fmla="*/ 11079 h 51323"/>
                <a:gd name="connsiteX564" fmla="*/ 15047 w 51323"/>
                <a:gd name="connsiteY564" fmla="*/ 11079 h 51323"/>
                <a:gd name="connsiteX565" fmla="*/ 15047 w 51323"/>
                <a:gd name="connsiteY565" fmla="*/ 11079 h 51323"/>
                <a:gd name="connsiteX566" fmla="*/ 15047 w 51323"/>
                <a:gd name="connsiteY566" fmla="*/ 11079 h 51323"/>
                <a:gd name="connsiteX567" fmla="*/ 15047 w 51323"/>
                <a:gd name="connsiteY567" fmla="*/ 11216 h 51323"/>
                <a:gd name="connsiteX568" fmla="*/ 15201 w 51323"/>
                <a:gd name="connsiteY568" fmla="*/ 11130 h 51323"/>
                <a:gd name="connsiteX569" fmla="*/ 14789 w 51323"/>
                <a:gd name="connsiteY569" fmla="*/ 11508 h 51323"/>
                <a:gd name="connsiteX570" fmla="*/ 14789 w 51323"/>
                <a:gd name="connsiteY570" fmla="*/ 11508 h 51323"/>
                <a:gd name="connsiteX571" fmla="*/ 14583 w 51323"/>
                <a:gd name="connsiteY571" fmla="*/ 11508 h 51323"/>
                <a:gd name="connsiteX572" fmla="*/ 14325 w 51323"/>
                <a:gd name="connsiteY572" fmla="*/ 11989 h 51323"/>
                <a:gd name="connsiteX573" fmla="*/ 14325 w 51323"/>
                <a:gd name="connsiteY573" fmla="*/ 11989 h 51323"/>
                <a:gd name="connsiteX574" fmla="*/ 14016 w 51323"/>
                <a:gd name="connsiteY574" fmla="*/ 12367 h 51323"/>
                <a:gd name="connsiteX575" fmla="*/ 14016 w 51323"/>
                <a:gd name="connsiteY575" fmla="*/ 12367 h 51323"/>
                <a:gd name="connsiteX576" fmla="*/ 14308 w 51323"/>
                <a:gd name="connsiteY576" fmla="*/ 12230 h 51323"/>
                <a:gd name="connsiteX577" fmla="*/ 14549 w 51323"/>
                <a:gd name="connsiteY577" fmla="*/ 12075 h 51323"/>
                <a:gd name="connsiteX578" fmla="*/ 14549 w 51323"/>
                <a:gd name="connsiteY578" fmla="*/ 12247 h 51323"/>
                <a:gd name="connsiteX579" fmla="*/ 14995 w 51323"/>
                <a:gd name="connsiteY579" fmla="*/ 11921 h 51323"/>
                <a:gd name="connsiteX580" fmla="*/ 14995 w 51323"/>
                <a:gd name="connsiteY580" fmla="*/ 11921 h 51323"/>
                <a:gd name="connsiteX581" fmla="*/ 15133 w 51323"/>
                <a:gd name="connsiteY581" fmla="*/ 11817 h 51323"/>
                <a:gd name="connsiteX582" fmla="*/ 15133 w 51323"/>
                <a:gd name="connsiteY582" fmla="*/ 11817 h 51323"/>
                <a:gd name="connsiteX583" fmla="*/ 15442 w 51323"/>
                <a:gd name="connsiteY583" fmla="*/ 11577 h 51323"/>
                <a:gd name="connsiteX584" fmla="*/ 15442 w 51323"/>
                <a:gd name="connsiteY584" fmla="*/ 11577 h 51323"/>
                <a:gd name="connsiteX585" fmla="*/ 15322 w 51323"/>
                <a:gd name="connsiteY585" fmla="*/ 11697 h 51323"/>
                <a:gd name="connsiteX586" fmla="*/ 15322 w 51323"/>
                <a:gd name="connsiteY586" fmla="*/ 11783 h 51323"/>
                <a:gd name="connsiteX587" fmla="*/ 15322 w 51323"/>
                <a:gd name="connsiteY587" fmla="*/ 11783 h 51323"/>
                <a:gd name="connsiteX588" fmla="*/ 15150 w 51323"/>
                <a:gd name="connsiteY588" fmla="*/ 12006 h 51323"/>
                <a:gd name="connsiteX589" fmla="*/ 15150 w 51323"/>
                <a:gd name="connsiteY589" fmla="*/ 12006 h 51323"/>
                <a:gd name="connsiteX590" fmla="*/ 15150 w 51323"/>
                <a:gd name="connsiteY590" fmla="*/ 12144 h 51323"/>
                <a:gd name="connsiteX591" fmla="*/ 15150 w 51323"/>
                <a:gd name="connsiteY591" fmla="*/ 12247 h 51323"/>
                <a:gd name="connsiteX592" fmla="*/ 14978 w 51323"/>
                <a:gd name="connsiteY592" fmla="*/ 12247 h 51323"/>
                <a:gd name="connsiteX593" fmla="*/ 14978 w 51323"/>
                <a:gd name="connsiteY593" fmla="*/ 12350 h 51323"/>
                <a:gd name="connsiteX594" fmla="*/ 15150 w 51323"/>
                <a:gd name="connsiteY594" fmla="*/ 12350 h 51323"/>
                <a:gd name="connsiteX595" fmla="*/ 14892 w 51323"/>
                <a:gd name="connsiteY595" fmla="*/ 12505 h 51323"/>
                <a:gd name="connsiteX596" fmla="*/ 14892 w 51323"/>
                <a:gd name="connsiteY596" fmla="*/ 12608 h 51323"/>
                <a:gd name="connsiteX597" fmla="*/ 14995 w 51323"/>
                <a:gd name="connsiteY597" fmla="*/ 12608 h 51323"/>
                <a:gd name="connsiteX598" fmla="*/ 14889 w 51323"/>
                <a:gd name="connsiteY598" fmla="*/ 12770 h 51323"/>
                <a:gd name="connsiteX599" fmla="*/ 14806 w 51323"/>
                <a:gd name="connsiteY599" fmla="*/ 12762 h 51323"/>
                <a:gd name="connsiteX600" fmla="*/ 14806 w 51323"/>
                <a:gd name="connsiteY600" fmla="*/ 12917 h 51323"/>
                <a:gd name="connsiteX601" fmla="*/ 14566 w 51323"/>
                <a:gd name="connsiteY601" fmla="*/ 13089 h 51323"/>
                <a:gd name="connsiteX602" fmla="*/ 14411 w 51323"/>
                <a:gd name="connsiteY602" fmla="*/ 13312 h 51323"/>
                <a:gd name="connsiteX603" fmla="*/ 14531 w 51323"/>
                <a:gd name="connsiteY603" fmla="*/ 13415 h 51323"/>
                <a:gd name="connsiteX604" fmla="*/ 14531 w 51323"/>
                <a:gd name="connsiteY604" fmla="*/ 13501 h 51323"/>
                <a:gd name="connsiteX605" fmla="*/ 14531 w 51323"/>
                <a:gd name="connsiteY605" fmla="*/ 13621 h 51323"/>
                <a:gd name="connsiteX606" fmla="*/ 14634 w 51323"/>
                <a:gd name="connsiteY606" fmla="*/ 13621 h 51323"/>
                <a:gd name="connsiteX607" fmla="*/ 14325 w 51323"/>
                <a:gd name="connsiteY607" fmla="*/ 13844 h 51323"/>
                <a:gd name="connsiteX608" fmla="*/ 14549 w 51323"/>
                <a:gd name="connsiteY608" fmla="*/ 13844 h 51323"/>
                <a:gd name="connsiteX609" fmla="*/ 14549 w 51323"/>
                <a:gd name="connsiteY609" fmla="*/ 13844 h 51323"/>
                <a:gd name="connsiteX610" fmla="*/ 14394 w 51323"/>
                <a:gd name="connsiteY610" fmla="*/ 13999 h 51323"/>
                <a:gd name="connsiteX611" fmla="*/ 14549 w 51323"/>
                <a:gd name="connsiteY611" fmla="*/ 13999 h 51323"/>
                <a:gd name="connsiteX612" fmla="*/ 14549 w 51323"/>
                <a:gd name="connsiteY612" fmla="*/ 13999 h 51323"/>
                <a:gd name="connsiteX613" fmla="*/ 14446 w 51323"/>
                <a:gd name="connsiteY613" fmla="*/ 14153 h 51323"/>
                <a:gd name="connsiteX614" fmla="*/ 14549 w 51323"/>
                <a:gd name="connsiteY614" fmla="*/ 14153 h 51323"/>
                <a:gd name="connsiteX615" fmla="*/ 14119 w 51323"/>
                <a:gd name="connsiteY615" fmla="*/ 14360 h 51323"/>
                <a:gd name="connsiteX616" fmla="*/ 13896 w 51323"/>
                <a:gd name="connsiteY616" fmla="*/ 14497 h 51323"/>
                <a:gd name="connsiteX617" fmla="*/ 13896 w 51323"/>
                <a:gd name="connsiteY617" fmla="*/ 14308 h 51323"/>
                <a:gd name="connsiteX618" fmla="*/ 13793 w 51323"/>
                <a:gd name="connsiteY618" fmla="*/ 14634 h 51323"/>
                <a:gd name="connsiteX619" fmla="*/ 14428 w 51323"/>
                <a:gd name="connsiteY619" fmla="*/ 14411 h 51323"/>
                <a:gd name="connsiteX620" fmla="*/ 14428 w 51323"/>
                <a:gd name="connsiteY620" fmla="*/ 14617 h 51323"/>
                <a:gd name="connsiteX621" fmla="*/ 14428 w 51323"/>
                <a:gd name="connsiteY621" fmla="*/ 14617 h 51323"/>
                <a:gd name="connsiteX622" fmla="*/ 14566 w 51323"/>
                <a:gd name="connsiteY622" fmla="*/ 14617 h 51323"/>
                <a:gd name="connsiteX623" fmla="*/ 14652 w 51323"/>
                <a:gd name="connsiteY623" fmla="*/ 14617 h 51323"/>
                <a:gd name="connsiteX624" fmla="*/ 14497 w 51323"/>
                <a:gd name="connsiteY624" fmla="*/ 14772 h 51323"/>
                <a:gd name="connsiteX625" fmla="*/ 14360 w 51323"/>
                <a:gd name="connsiteY625" fmla="*/ 14875 h 51323"/>
                <a:gd name="connsiteX626" fmla="*/ 14360 w 51323"/>
                <a:gd name="connsiteY626" fmla="*/ 15012 h 51323"/>
                <a:gd name="connsiteX627" fmla="*/ 13844 w 51323"/>
                <a:gd name="connsiteY627" fmla="*/ 15287 h 51323"/>
                <a:gd name="connsiteX628" fmla="*/ 13844 w 51323"/>
                <a:gd name="connsiteY628" fmla="*/ 15287 h 51323"/>
                <a:gd name="connsiteX629" fmla="*/ 12590 w 51323"/>
                <a:gd name="connsiteY629" fmla="*/ 15407 h 51323"/>
                <a:gd name="connsiteX630" fmla="*/ 12247 w 51323"/>
                <a:gd name="connsiteY630" fmla="*/ 15253 h 51323"/>
                <a:gd name="connsiteX631" fmla="*/ 10426 w 51323"/>
                <a:gd name="connsiteY631" fmla="*/ 16369 h 51323"/>
                <a:gd name="connsiteX632" fmla="*/ 11749 w 51323"/>
                <a:gd name="connsiteY632" fmla="*/ 16369 h 51323"/>
                <a:gd name="connsiteX633" fmla="*/ 11577 w 51323"/>
                <a:gd name="connsiteY633" fmla="*/ 16507 h 51323"/>
                <a:gd name="connsiteX634" fmla="*/ 11577 w 51323"/>
                <a:gd name="connsiteY634" fmla="*/ 16936 h 51323"/>
                <a:gd name="connsiteX635" fmla="*/ 11835 w 51323"/>
                <a:gd name="connsiteY635" fmla="*/ 17125 h 51323"/>
                <a:gd name="connsiteX636" fmla="*/ 11835 w 51323"/>
                <a:gd name="connsiteY636" fmla="*/ 17245 h 51323"/>
                <a:gd name="connsiteX637" fmla="*/ 11251 w 51323"/>
                <a:gd name="connsiteY637" fmla="*/ 17365 h 51323"/>
                <a:gd name="connsiteX638" fmla="*/ 10770 w 51323"/>
                <a:gd name="connsiteY638" fmla="*/ 17743 h 51323"/>
                <a:gd name="connsiteX639" fmla="*/ 10770 w 51323"/>
                <a:gd name="connsiteY639" fmla="*/ 17743 h 51323"/>
                <a:gd name="connsiteX640" fmla="*/ 10770 w 51323"/>
                <a:gd name="connsiteY640" fmla="*/ 17640 h 51323"/>
                <a:gd name="connsiteX641" fmla="*/ 11371 w 51323"/>
                <a:gd name="connsiteY641" fmla="*/ 17280 h 51323"/>
                <a:gd name="connsiteX642" fmla="*/ 11543 w 51323"/>
                <a:gd name="connsiteY642" fmla="*/ 17194 h 51323"/>
                <a:gd name="connsiteX643" fmla="*/ 11543 w 51323"/>
                <a:gd name="connsiteY643" fmla="*/ 16970 h 51323"/>
                <a:gd name="connsiteX644" fmla="*/ 11543 w 51323"/>
                <a:gd name="connsiteY644" fmla="*/ 16970 h 51323"/>
                <a:gd name="connsiteX645" fmla="*/ 11543 w 51323"/>
                <a:gd name="connsiteY645" fmla="*/ 16970 h 51323"/>
                <a:gd name="connsiteX646" fmla="*/ 11233 w 51323"/>
                <a:gd name="connsiteY646" fmla="*/ 16970 h 51323"/>
                <a:gd name="connsiteX647" fmla="*/ 10924 w 51323"/>
                <a:gd name="connsiteY647" fmla="*/ 16970 h 51323"/>
                <a:gd name="connsiteX648" fmla="*/ 10924 w 51323"/>
                <a:gd name="connsiteY648" fmla="*/ 17159 h 51323"/>
                <a:gd name="connsiteX649" fmla="*/ 10924 w 51323"/>
                <a:gd name="connsiteY649" fmla="*/ 17159 h 51323"/>
                <a:gd name="connsiteX650" fmla="*/ 10667 w 51323"/>
                <a:gd name="connsiteY650" fmla="*/ 17159 h 51323"/>
                <a:gd name="connsiteX651" fmla="*/ 10667 w 51323"/>
                <a:gd name="connsiteY651" fmla="*/ 17159 h 51323"/>
                <a:gd name="connsiteX652" fmla="*/ 10478 w 51323"/>
                <a:gd name="connsiteY652" fmla="*/ 17331 h 51323"/>
                <a:gd name="connsiteX653" fmla="*/ 10478 w 51323"/>
                <a:gd name="connsiteY653" fmla="*/ 17331 h 51323"/>
                <a:gd name="connsiteX654" fmla="*/ 10478 w 51323"/>
                <a:gd name="connsiteY654" fmla="*/ 17331 h 51323"/>
                <a:gd name="connsiteX655" fmla="*/ 10478 w 51323"/>
                <a:gd name="connsiteY655" fmla="*/ 17331 h 51323"/>
                <a:gd name="connsiteX656" fmla="*/ 10083 w 51323"/>
                <a:gd name="connsiteY656" fmla="*/ 18001 h 51323"/>
                <a:gd name="connsiteX657" fmla="*/ 9911 w 51323"/>
                <a:gd name="connsiteY657" fmla="*/ 18087 h 51323"/>
                <a:gd name="connsiteX658" fmla="*/ 9808 w 51323"/>
                <a:gd name="connsiteY658" fmla="*/ 18087 h 51323"/>
                <a:gd name="connsiteX659" fmla="*/ 8743 w 51323"/>
                <a:gd name="connsiteY659" fmla="*/ 18980 h 51323"/>
                <a:gd name="connsiteX660" fmla="*/ 8743 w 51323"/>
                <a:gd name="connsiteY660" fmla="*/ 18980 h 51323"/>
                <a:gd name="connsiteX661" fmla="*/ 8743 w 51323"/>
                <a:gd name="connsiteY661" fmla="*/ 18980 h 51323"/>
                <a:gd name="connsiteX662" fmla="*/ 8743 w 51323"/>
                <a:gd name="connsiteY662" fmla="*/ 18740 h 51323"/>
                <a:gd name="connsiteX663" fmla="*/ 8365 w 51323"/>
                <a:gd name="connsiteY663" fmla="*/ 19495 h 51323"/>
                <a:gd name="connsiteX664" fmla="*/ 8365 w 51323"/>
                <a:gd name="connsiteY664" fmla="*/ 19495 h 51323"/>
                <a:gd name="connsiteX665" fmla="*/ 8262 w 51323"/>
                <a:gd name="connsiteY665" fmla="*/ 19650 h 51323"/>
                <a:gd name="connsiteX666" fmla="*/ 8434 w 51323"/>
                <a:gd name="connsiteY666" fmla="*/ 19341 h 51323"/>
                <a:gd name="connsiteX667" fmla="*/ 8434 w 51323"/>
                <a:gd name="connsiteY667" fmla="*/ 19221 h 51323"/>
                <a:gd name="connsiteX668" fmla="*/ 8434 w 51323"/>
                <a:gd name="connsiteY668" fmla="*/ 19221 h 51323"/>
                <a:gd name="connsiteX669" fmla="*/ 8674 w 51323"/>
                <a:gd name="connsiteY669" fmla="*/ 18671 h 51323"/>
                <a:gd name="connsiteX670" fmla="*/ 8365 w 51323"/>
                <a:gd name="connsiteY670" fmla="*/ 19221 h 51323"/>
                <a:gd name="connsiteX671" fmla="*/ 8365 w 51323"/>
                <a:gd name="connsiteY671" fmla="*/ 18929 h 51323"/>
                <a:gd name="connsiteX672" fmla="*/ 8365 w 51323"/>
                <a:gd name="connsiteY672" fmla="*/ 19324 h 51323"/>
                <a:gd name="connsiteX673" fmla="*/ 8365 w 51323"/>
                <a:gd name="connsiteY673" fmla="*/ 19530 h 51323"/>
                <a:gd name="connsiteX674" fmla="*/ 8365 w 51323"/>
                <a:gd name="connsiteY674" fmla="*/ 19650 h 51323"/>
                <a:gd name="connsiteX675" fmla="*/ 8365 w 51323"/>
                <a:gd name="connsiteY675" fmla="*/ 19513 h 51323"/>
                <a:gd name="connsiteX676" fmla="*/ 8365 w 51323"/>
                <a:gd name="connsiteY676" fmla="*/ 19856 h 51323"/>
                <a:gd name="connsiteX677" fmla="*/ 8365 w 51323"/>
                <a:gd name="connsiteY677" fmla="*/ 19856 h 51323"/>
                <a:gd name="connsiteX678" fmla="*/ 8210 w 51323"/>
                <a:gd name="connsiteY678" fmla="*/ 19976 h 51323"/>
                <a:gd name="connsiteX679" fmla="*/ 8210 w 51323"/>
                <a:gd name="connsiteY679" fmla="*/ 20097 h 51323"/>
                <a:gd name="connsiteX680" fmla="*/ 8313 w 51323"/>
                <a:gd name="connsiteY680" fmla="*/ 20234 h 51323"/>
                <a:gd name="connsiteX681" fmla="*/ 8313 w 51323"/>
                <a:gd name="connsiteY681" fmla="*/ 20131 h 51323"/>
                <a:gd name="connsiteX682" fmla="*/ 8176 w 51323"/>
                <a:gd name="connsiteY682" fmla="*/ 20354 h 51323"/>
                <a:gd name="connsiteX683" fmla="*/ 8176 w 51323"/>
                <a:gd name="connsiteY683" fmla="*/ 20251 h 51323"/>
                <a:gd name="connsiteX684" fmla="*/ 8176 w 51323"/>
                <a:gd name="connsiteY684" fmla="*/ 20251 h 51323"/>
                <a:gd name="connsiteX685" fmla="*/ 8176 w 51323"/>
                <a:gd name="connsiteY685" fmla="*/ 20389 h 51323"/>
                <a:gd name="connsiteX686" fmla="*/ 8176 w 51323"/>
                <a:gd name="connsiteY686" fmla="*/ 20389 h 51323"/>
                <a:gd name="connsiteX687" fmla="*/ 8176 w 51323"/>
                <a:gd name="connsiteY687" fmla="*/ 20389 h 51323"/>
                <a:gd name="connsiteX688" fmla="*/ 8176 w 51323"/>
                <a:gd name="connsiteY688" fmla="*/ 20389 h 51323"/>
                <a:gd name="connsiteX689" fmla="*/ 6579 w 51323"/>
                <a:gd name="connsiteY689" fmla="*/ 22982 h 51323"/>
                <a:gd name="connsiteX690" fmla="*/ 6579 w 51323"/>
                <a:gd name="connsiteY690" fmla="*/ 22982 h 51323"/>
                <a:gd name="connsiteX691" fmla="*/ 6579 w 51323"/>
                <a:gd name="connsiteY691" fmla="*/ 22982 h 51323"/>
                <a:gd name="connsiteX692" fmla="*/ 6579 w 51323"/>
                <a:gd name="connsiteY692" fmla="*/ 22982 h 51323"/>
                <a:gd name="connsiteX693" fmla="*/ 6579 w 51323"/>
                <a:gd name="connsiteY693" fmla="*/ 22604 h 51323"/>
                <a:gd name="connsiteX694" fmla="*/ 6579 w 51323"/>
                <a:gd name="connsiteY694" fmla="*/ 22707 h 51323"/>
                <a:gd name="connsiteX695" fmla="*/ 6579 w 51323"/>
                <a:gd name="connsiteY695" fmla="*/ 21745 h 51323"/>
                <a:gd name="connsiteX696" fmla="*/ 6579 w 51323"/>
                <a:gd name="connsiteY696" fmla="*/ 21745 h 51323"/>
                <a:gd name="connsiteX697" fmla="*/ 6579 w 51323"/>
                <a:gd name="connsiteY697" fmla="*/ 21745 h 51323"/>
                <a:gd name="connsiteX698" fmla="*/ 6579 w 51323"/>
                <a:gd name="connsiteY698" fmla="*/ 21745 h 51323"/>
                <a:gd name="connsiteX699" fmla="*/ 6579 w 51323"/>
                <a:gd name="connsiteY699" fmla="*/ 21642 h 51323"/>
                <a:gd name="connsiteX700" fmla="*/ 6579 w 51323"/>
                <a:gd name="connsiteY700" fmla="*/ 21522 h 51323"/>
                <a:gd name="connsiteX701" fmla="*/ 6579 w 51323"/>
                <a:gd name="connsiteY701" fmla="*/ 21522 h 51323"/>
                <a:gd name="connsiteX702" fmla="*/ 6579 w 51323"/>
                <a:gd name="connsiteY702" fmla="*/ 21385 h 51323"/>
                <a:gd name="connsiteX703" fmla="*/ 6579 w 51323"/>
                <a:gd name="connsiteY703" fmla="*/ 21385 h 51323"/>
                <a:gd name="connsiteX704" fmla="*/ 6579 w 51323"/>
                <a:gd name="connsiteY704" fmla="*/ 21385 h 51323"/>
                <a:gd name="connsiteX705" fmla="*/ 6579 w 51323"/>
                <a:gd name="connsiteY705" fmla="*/ 21385 h 51323"/>
                <a:gd name="connsiteX706" fmla="*/ 6579 w 51323"/>
                <a:gd name="connsiteY706" fmla="*/ 21230 h 51323"/>
                <a:gd name="connsiteX707" fmla="*/ 6579 w 51323"/>
                <a:gd name="connsiteY707" fmla="*/ 21333 h 51323"/>
                <a:gd name="connsiteX708" fmla="*/ 6373 w 51323"/>
                <a:gd name="connsiteY708" fmla="*/ 21453 h 51323"/>
                <a:gd name="connsiteX709" fmla="*/ 6373 w 51323"/>
                <a:gd name="connsiteY709" fmla="*/ 21453 h 51323"/>
                <a:gd name="connsiteX710" fmla="*/ 6373 w 51323"/>
                <a:gd name="connsiteY710" fmla="*/ 21849 h 51323"/>
                <a:gd name="connsiteX711" fmla="*/ 6373 w 51323"/>
                <a:gd name="connsiteY711" fmla="*/ 21763 h 51323"/>
                <a:gd name="connsiteX712" fmla="*/ 6373 w 51323"/>
                <a:gd name="connsiteY712" fmla="*/ 21660 h 51323"/>
                <a:gd name="connsiteX713" fmla="*/ 6373 w 51323"/>
                <a:gd name="connsiteY713" fmla="*/ 21350 h 51323"/>
                <a:gd name="connsiteX714" fmla="*/ 6373 w 51323"/>
                <a:gd name="connsiteY714" fmla="*/ 21350 h 51323"/>
                <a:gd name="connsiteX715" fmla="*/ 6184 w 51323"/>
                <a:gd name="connsiteY715" fmla="*/ 21350 h 51323"/>
                <a:gd name="connsiteX716" fmla="*/ 6184 w 51323"/>
                <a:gd name="connsiteY716" fmla="*/ 21127 h 51323"/>
                <a:gd name="connsiteX717" fmla="*/ 6184 w 51323"/>
                <a:gd name="connsiteY717" fmla="*/ 21127 h 51323"/>
                <a:gd name="connsiteX718" fmla="*/ 6184 w 51323"/>
                <a:gd name="connsiteY718" fmla="*/ 21385 h 51323"/>
                <a:gd name="connsiteX719" fmla="*/ 6184 w 51323"/>
                <a:gd name="connsiteY719" fmla="*/ 21385 h 51323"/>
                <a:gd name="connsiteX720" fmla="*/ 6184 w 51323"/>
                <a:gd name="connsiteY720" fmla="*/ 21505 h 51323"/>
                <a:gd name="connsiteX721" fmla="*/ 6184 w 51323"/>
                <a:gd name="connsiteY721" fmla="*/ 21505 h 51323"/>
                <a:gd name="connsiteX722" fmla="*/ 6184 w 51323"/>
                <a:gd name="connsiteY722" fmla="*/ 21505 h 51323"/>
                <a:gd name="connsiteX723" fmla="*/ 6184 w 51323"/>
                <a:gd name="connsiteY723" fmla="*/ 21505 h 51323"/>
                <a:gd name="connsiteX724" fmla="*/ 6184 w 51323"/>
                <a:gd name="connsiteY724" fmla="*/ 21505 h 51323"/>
                <a:gd name="connsiteX725" fmla="*/ 6184 w 51323"/>
                <a:gd name="connsiteY725" fmla="*/ 21505 h 51323"/>
                <a:gd name="connsiteX726" fmla="*/ 6184 w 51323"/>
                <a:gd name="connsiteY726" fmla="*/ 21608 h 51323"/>
                <a:gd name="connsiteX727" fmla="*/ 6184 w 51323"/>
                <a:gd name="connsiteY727" fmla="*/ 21608 h 51323"/>
                <a:gd name="connsiteX728" fmla="*/ 5943 w 51323"/>
                <a:gd name="connsiteY728" fmla="*/ 22553 h 51323"/>
                <a:gd name="connsiteX729" fmla="*/ 5943 w 51323"/>
                <a:gd name="connsiteY729" fmla="*/ 22398 h 51323"/>
                <a:gd name="connsiteX730" fmla="*/ 5943 w 51323"/>
                <a:gd name="connsiteY730" fmla="*/ 22621 h 51323"/>
                <a:gd name="connsiteX731" fmla="*/ 5703 w 51323"/>
                <a:gd name="connsiteY731" fmla="*/ 24116 h 51323"/>
                <a:gd name="connsiteX732" fmla="*/ 5703 w 51323"/>
                <a:gd name="connsiteY732" fmla="*/ 25507 h 51323"/>
                <a:gd name="connsiteX733" fmla="*/ 5703 w 51323"/>
                <a:gd name="connsiteY733" fmla="*/ 25507 h 51323"/>
                <a:gd name="connsiteX734" fmla="*/ 5703 w 51323"/>
                <a:gd name="connsiteY734" fmla="*/ 25421 h 51323"/>
                <a:gd name="connsiteX735" fmla="*/ 5703 w 51323"/>
                <a:gd name="connsiteY735" fmla="*/ 25421 h 51323"/>
                <a:gd name="connsiteX736" fmla="*/ 5703 w 51323"/>
                <a:gd name="connsiteY736" fmla="*/ 25421 h 51323"/>
                <a:gd name="connsiteX737" fmla="*/ 5703 w 51323"/>
                <a:gd name="connsiteY737" fmla="*/ 25421 h 51323"/>
                <a:gd name="connsiteX738" fmla="*/ 5703 w 51323"/>
                <a:gd name="connsiteY738" fmla="*/ 25627 h 51323"/>
                <a:gd name="connsiteX739" fmla="*/ 5703 w 51323"/>
                <a:gd name="connsiteY739" fmla="*/ 25627 h 51323"/>
                <a:gd name="connsiteX740" fmla="*/ 5703 w 51323"/>
                <a:gd name="connsiteY740" fmla="*/ 25627 h 51323"/>
                <a:gd name="connsiteX741" fmla="*/ 5703 w 51323"/>
                <a:gd name="connsiteY741" fmla="*/ 25404 h 51323"/>
                <a:gd name="connsiteX742" fmla="*/ 5703 w 51323"/>
                <a:gd name="connsiteY742" fmla="*/ 25404 h 51323"/>
                <a:gd name="connsiteX743" fmla="*/ 5995 w 51323"/>
                <a:gd name="connsiteY743" fmla="*/ 24665 h 51323"/>
                <a:gd name="connsiteX744" fmla="*/ 5995 w 51323"/>
                <a:gd name="connsiteY744" fmla="*/ 24665 h 51323"/>
                <a:gd name="connsiteX745" fmla="*/ 5995 w 51323"/>
                <a:gd name="connsiteY745" fmla="*/ 24665 h 51323"/>
                <a:gd name="connsiteX746" fmla="*/ 5995 w 51323"/>
                <a:gd name="connsiteY746" fmla="*/ 24665 h 51323"/>
                <a:gd name="connsiteX747" fmla="*/ 5857 w 51323"/>
                <a:gd name="connsiteY747" fmla="*/ 25593 h 51323"/>
                <a:gd name="connsiteX748" fmla="*/ 5857 w 51323"/>
                <a:gd name="connsiteY748" fmla="*/ 25919 h 51323"/>
                <a:gd name="connsiteX749" fmla="*/ 5101 w 51323"/>
                <a:gd name="connsiteY749" fmla="*/ 26521 h 51323"/>
                <a:gd name="connsiteX750" fmla="*/ 4500 w 51323"/>
                <a:gd name="connsiteY750" fmla="*/ 25765 h 51323"/>
                <a:gd name="connsiteX751" fmla="*/ 4397 w 51323"/>
                <a:gd name="connsiteY751" fmla="*/ 26658 h 51323"/>
                <a:gd name="connsiteX752" fmla="*/ 4397 w 51323"/>
                <a:gd name="connsiteY752" fmla="*/ 26658 h 51323"/>
                <a:gd name="connsiteX753" fmla="*/ 4397 w 51323"/>
                <a:gd name="connsiteY753" fmla="*/ 26864 h 51323"/>
                <a:gd name="connsiteX754" fmla="*/ 4397 w 51323"/>
                <a:gd name="connsiteY754" fmla="*/ 26864 h 51323"/>
                <a:gd name="connsiteX755" fmla="*/ 4397 w 51323"/>
                <a:gd name="connsiteY755" fmla="*/ 26950 h 51323"/>
                <a:gd name="connsiteX756" fmla="*/ 4586 w 51323"/>
                <a:gd name="connsiteY756" fmla="*/ 26950 h 51323"/>
                <a:gd name="connsiteX757" fmla="*/ 4724 w 51323"/>
                <a:gd name="connsiteY757" fmla="*/ 27190 h 51323"/>
                <a:gd name="connsiteX758" fmla="*/ 4724 w 51323"/>
                <a:gd name="connsiteY758" fmla="*/ 27190 h 51323"/>
                <a:gd name="connsiteX759" fmla="*/ 4724 w 51323"/>
                <a:gd name="connsiteY759" fmla="*/ 27345 h 51323"/>
                <a:gd name="connsiteX760" fmla="*/ 4724 w 51323"/>
                <a:gd name="connsiteY760" fmla="*/ 27448 h 51323"/>
                <a:gd name="connsiteX761" fmla="*/ 4724 w 51323"/>
                <a:gd name="connsiteY761" fmla="*/ 27448 h 51323"/>
                <a:gd name="connsiteX762" fmla="*/ 4724 w 51323"/>
                <a:gd name="connsiteY762" fmla="*/ 28152 h 51323"/>
                <a:gd name="connsiteX763" fmla="*/ 4724 w 51323"/>
                <a:gd name="connsiteY763" fmla="*/ 28152 h 51323"/>
                <a:gd name="connsiteX764" fmla="*/ 4724 w 51323"/>
                <a:gd name="connsiteY764" fmla="*/ 28616 h 51323"/>
                <a:gd name="connsiteX765" fmla="*/ 4724 w 51323"/>
                <a:gd name="connsiteY765" fmla="*/ 28444 h 51323"/>
                <a:gd name="connsiteX766" fmla="*/ 4724 w 51323"/>
                <a:gd name="connsiteY766" fmla="*/ 28805 h 51323"/>
                <a:gd name="connsiteX767" fmla="*/ 4724 w 51323"/>
                <a:gd name="connsiteY767" fmla="*/ 28719 h 51323"/>
                <a:gd name="connsiteX768" fmla="*/ 4724 w 51323"/>
                <a:gd name="connsiteY768" fmla="*/ 29149 h 51323"/>
                <a:gd name="connsiteX769" fmla="*/ 4930 w 51323"/>
                <a:gd name="connsiteY769" fmla="*/ 29733 h 51323"/>
                <a:gd name="connsiteX770" fmla="*/ 5634 w 51323"/>
                <a:gd name="connsiteY770" fmla="*/ 30471 h 51323"/>
                <a:gd name="connsiteX771" fmla="*/ 5960 w 51323"/>
                <a:gd name="connsiteY771" fmla="*/ 29595 h 51323"/>
                <a:gd name="connsiteX772" fmla="*/ 5960 w 51323"/>
                <a:gd name="connsiteY772" fmla="*/ 29475 h 51323"/>
                <a:gd name="connsiteX773" fmla="*/ 6355 w 51323"/>
                <a:gd name="connsiteY773" fmla="*/ 29234 h 51323"/>
                <a:gd name="connsiteX774" fmla="*/ 6355 w 51323"/>
                <a:gd name="connsiteY774" fmla="*/ 30145 h 51323"/>
                <a:gd name="connsiteX775" fmla="*/ 6665 w 51323"/>
                <a:gd name="connsiteY775" fmla="*/ 29664 h 51323"/>
                <a:gd name="connsiteX776" fmla="*/ 6665 w 51323"/>
                <a:gd name="connsiteY776" fmla="*/ 29441 h 51323"/>
                <a:gd name="connsiteX777" fmla="*/ 6785 w 51323"/>
                <a:gd name="connsiteY777" fmla="*/ 29733 h 51323"/>
                <a:gd name="connsiteX778" fmla="*/ 7060 w 51323"/>
                <a:gd name="connsiteY778" fmla="*/ 30007 h 51323"/>
                <a:gd name="connsiteX779" fmla="*/ 7472 w 51323"/>
                <a:gd name="connsiteY779" fmla="*/ 30196 h 51323"/>
                <a:gd name="connsiteX780" fmla="*/ 8262 w 51323"/>
                <a:gd name="connsiteY780" fmla="*/ 30402 h 51323"/>
                <a:gd name="connsiteX781" fmla="*/ 8262 w 51323"/>
                <a:gd name="connsiteY781" fmla="*/ 30643 h 51323"/>
                <a:gd name="connsiteX782" fmla="*/ 8434 w 51323"/>
                <a:gd name="connsiteY782" fmla="*/ 31107 h 51323"/>
                <a:gd name="connsiteX783" fmla="*/ 9189 w 51323"/>
                <a:gd name="connsiteY783" fmla="*/ 32000 h 51323"/>
                <a:gd name="connsiteX784" fmla="*/ 9550 w 51323"/>
                <a:gd name="connsiteY784" fmla="*/ 32309 h 51323"/>
                <a:gd name="connsiteX785" fmla="*/ 10220 w 51323"/>
                <a:gd name="connsiteY785" fmla="*/ 32532 h 51323"/>
                <a:gd name="connsiteX786" fmla="*/ 10856 w 51323"/>
                <a:gd name="connsiteY786" fmla="*/ 33151 h 51323"/>
                <a:gd name="connsiteX787" fmla="*/ 11302 w 51323"/>
                <a:gd name="connsiteY787" fmla="*/ 33924 h 51323"/>
                <a:gd name="connsiteX788" fmla="*/ 11045 w 51323"/>
                <a:gd name="connsiteY788" fmla="*/ 34868 h 51323"/>
                <a:gd name="connsiteX789" fmla="*/ 11148 w 51323"/>
                <a:gd name="connsiteY789" fmla="*/ 34868 h 51323"/>
                <a:gd name="connsiteX790" fmla="*/ 11337 w 51323"/>
                <a:gd name="connsiteY790" fmla="*/ 34731 h 51323"/>
                <a:gd name="connsiteX791" fmla="*/ 11337 w 51323"/>
                <a:gd name="connsiteY791" fmla="*/ 34731 h 51323"/>
                <a:gd name="connsiteX792" fmla="*/ 11337 w 51323"/>
                <a:gd name="connsiteY792" fmla="*/ 35092 h 51323"/>
                <a:gd name="connsiteX793" fmla="*/ 11680 w 51323"/>
                <a:gd name="connsiteY793" fmla="*/ 35624 h 51323"/>
                <a:gd name="connsiteX794" fmla="*/ 12419 w 51323"/>
                <a:gd name="connsiteY794" fmla="*/ 35074 h 51323"/>
                <a:gd name="connsiteX795" fmla="*/ 12642 w 51323"/>
                <a:gd name="connsiteY795" fmla="*/ 35263 h 51323"/>
                <a:gd name="connsiteX796" fmla="*/ 12882 w 51323"/>
                <a:gd name="connsiteY796" fmla="*/ 35469 h 51323"/>
                <a:gd name="connsiteX797" fmla="*/ 12968 w 51323"/>
                <a:gd name="connsiteY797" fmla="*/ 35830 h 51323"/>
                <a:gd name="connsiteX798" fmla="*/ 12968 w 51323"/>
                <a:gd name="connsiteY798" fmla="*/ 35710 h 51323"/>
                <a:gd name="connsiteX799" fmla="*/ 12968 w 51323"/>
                <a:gd name="connsiteY799" fmla="*/ 35504 h 51323"/>
                <a:gd name="connsiteX800" fmla="*/ 13363 w 51323"/>
                <a:gd name="connsiteY800" fmla="*/ 35641 h 51323"/>
                <a:gd name="connsiteX801" fmla="*/ 13466 w 51323"/>
                <a:gd name="connsiteY801" fmla="*/ 35744 h 51323"/>
                <a:gd name="connsiteX802" fmla="*/ 13466 w 51323"/>
                <a:gd name="connsiteY802" fmla="*/ 35744 h 51323"/>
                <a:gd name="connsiteX803" fmla="*/ 13466 w 51323"/>
                <a:gd name="connsiteY803" fmla="*/ 35744 h 51323"/>
                <a:gd name="connsiteX804" fmla="*/ 13466 w 51323"/>
                <a:gd name="connsiteY804" fmla="*/ 35744 h 51323"/>
                <a:gd name="connsiteX805" fmla="*/ 14926 w 51323"/>
                <a:gd name="connsiteY805" fmla="*/ 38922 h 51323"/>
                <a:gd name="connsiteX806" fmla="*/ 14926 w 51323"/>
                <a:gd name="connsiteY806" fmla="*/ 38819 h 51323"/>
                <a:gd name="connsiteX807" fmla="*/ 14806 w 51323"/>
                <a:gd name="connsiteY807" fmla="*/ 38819 h 51323"/>
                <a:gd name="connsiteX808" fmla="*/ 14806 w 51323"/>
                <a:gd name="connsiteY808" fmla="*/ 38819 h 51323"/>
                <a:gd name="connsiteX809" fmla="*/ 14806 w 51323"/>
                <a:gd name="connsiteY809" fmla="*/ 41447 h 51323"/>
                <a:gd name="connsiteX810" fmla="*/ 14806 w 51323"/>
                <a:gd name="connsiteY810" fmla="*/ 41447 h 51323"/>
                <a:gd name="connsiteX811" fmla="*/ 14600 w 51323"/>
                <a:gd name="connsiteY811" fmla="*/ 41447 h 51323"/>
                <a:gd name="connsiteX812" fmla="*/ 14600 w 51323"/>
                <a:gd name="connsiteY812" fmla="*/ 41687 h 51323"/>
                <a:gd name="connsiteX813" fmla="*/ 14154 w 51323"/>
                <a:gd name="connsiteY813" fmla="*/ 41962 h 51323"/>
                <a:gd name="connsiteX814" fmla="*/ 14154 w 51323"/>
                <a:gd name="connsiteY814" fmla="*/ 41962 h 51323"/>
                <a:gd name="connsiteX815" fmla="*/ 14154 w 51323"/>
                <a:gd name="connsiteY815" fmla="*/ 42048 h 51323"/>
                <a:gd name="connsiteX816" fmla="*/ 14154 w 51323"/>
                <a:gd name="connsiteY816" fmla="*/ 42048 h 51323"/>
                <a:gd name="connsiteX817" fmla="*/ 14411 w 51323"/>
                <a:gd name="connsiteY817" fmla="*/ 42529 h 51323"/>
                <a:gd name="connsiteX818" fmla="*/ 14411 w 51323"/>
                <a:gd name="connsiteY818" fmla="*/ 43336 h 51323"/>
                <a:gd name="connsiteX819" fmla="*/ 14411 w 51323"/>
                <a:gd name="connsiteY819" fmla="*/ 43250 h 51323"/>
                <a:gd name="connsiteX820" fmla="*/ 14411 w 51323"/>
                <a:gd name="connsiteY820" fmla="*/ 43113 h 51323"/>
                <a:gd name="connsiteX821" fmla="*/ 14171 w 51323"/>
                <a:gd name="connsiteY821" fmla="*/ 42924 h 51323"/>
                <a:gd name="connsiteX822" fmla="*/ 14325 w 51323"/>
                <a:gd name="connsiteY822" fmla="*/ 43113 h 51323"/>
                <a:gd name="connsiteX823" fmla="*/ 14325 w 51323"/>
                <a:gd name="connsiteY823" fmla="*/ 43250 h 51323"/>
                <a:gd name="connsiteX824" fmla="*/ 13844 w 51323"/>
                <a:gd name="connsiteY824" fmla="*/ 43817 h 51323"/>
                <a:gd name="connsiteX825" fmla="*/ 14549 w 51323"/>
                <a:gd name="connsiteY825" fmla="*/ 44418 h 51323"/>
                <a:gd name="connsiteX826" fmla="*/ 14549 w 51323"/>
                <a:gd name="connsiteY826" fmla="*/ 44418 h 51323"/>
                <a:gd name="connsiteX827" fmla="*/ 14755 w 51323"/>
                <a:gd name="connsiteY827" fmla="*/ 44693 h 51323"/>
                <a:gd name="connsiteX828" fmla="*/ 14755 w 51323"/>
                <a:gd name="connsiteY828" fmla="*/ 44693 h 51323"/>
                <a:gd name="connsiteX829" fmla="*/ 14755 w 51323"/>
                <a:gd name="connsiteY829" fmla="*/ 44882 h 51323"/>
                <a:gd name="connsiteX830" fmla="*/ 14291 w 51323"/>
                <a:gd name="connsiteY830" fmla="*/ 44882 h 51323"/>
                <a:gd name="connsiteX831" fmla="*/ 14566 w 51323"/>
                <a:gd name="connsiteY831" fmla="*/ 45123 h 51323"/>
                <a:gd name="connsiteX832" fmla="*/ 14566 w 51323"/>
                <a:gd name="connsiteY832" fmla="*/ 45123 h 51323"/>
                <a:gd name="connsiteX833" fmla="*/ 14463 w 51323"/>
                <a:gd name="connsiteY833" fmla="*/ 45294 h 51323"/>
                <a:gd name="connsiteX834" fmla="*/ 15012 w 51323"/>
                <a:gd name="connsiteY834" fmla="*/ 45707 h 51323"/>
                <a:gd name="connsiteX835" fmla="*/ 15012 w 51323"/>
                <a:gd name="connsiteY835" fmla="*/ 45707 h 51323"/>
                <a:gd name="connsiteX836" fmla="*/ 15012 w 51323"/>
                <a:gd name="connsiteY836" fmla="*/ 45707 h 51323"/>
                <a:gd name="connsiteX837" fmla="*/ 15717 w 51323"/>
                <a:gd name="connsiteY837" fmla="*/ 46359 h 51323"/>
                <a:gd name="connsiteX838" fmla="*/ 15717 w 51323"/>
                <a:gd name="connsiteY838" fmla="*/ 46359 h 51323"/>
                <a:gd name="connsiteX839" fmla="*/ 15717 w 51323"/>
                <a:gd name="connsiteY839" fmla="*/ 46359 h 51323"/>
                <a:gd name="connsiteX840" fmla="*/ 15717 w 51323"/>
                <a:gd name="connsiteY840" fmla="*/ 46359 h 51323"/>
                <a:gd name="connsiteX841" fmla="*/ 16730 w 51323"/>
                <a:gd name="connsiteY841" fmla="*/ 47012 h 51323"/>
                <a:gd name="connsiteX842" fmla="*/ 16730 w 51323"/>
                <a:gd name="connsiteY842" fmla="*/ 47012 h 51323"/>
                <a:gd name="connsiteX843" fmla="*/ 16730 w 51323"/>
                <a:gd name="connsiteY843" fmla="*/ 47012 h 51323"/>
                <a:gd name="connsiteX844" fmla="*/ 16730 w 51323"/>
                <a:gd name="connsiteY844" fmla="*/ 47012 h 51323"/>
                <a:gd name="connsiteX845" fmla="*/ 16885 w 51323"/>
                <a:gd name="connsiteY845" fmla="*/ 47132 h 51323"/>
                <a:gd name="connsiteX846" fmla="*/ 16885 w 51323"/>
                <a:gd name="connsiteY846" fmla="*/ 47132 h 51323"/>
                <a:gd name="connsiteX847" fmla="*/ 17091 w 51323"/>
                <a:gd name="connsiteY847" fmla="*/ 47270 h 51323"/>
                <a:gd name="connsiteX848" fmla="*/ 16988 w 51323"/>
                <a:gd name="connsiteY848" fmla="*/ 47270 h 51323"/>
                <a:gd name="connsiteX849" fmla="*/ 17898 w 51323"/>
                <a:gd name="connsiteY849" fmla="*/ 47751 h 51323"/>
                <a:gd name="connsiteX850" fmla="*/ 17898 w 51323"/>
                <a:gd name="connsiteY850" fmla="*/ 47751 h 51323"/>
                <a:gd name="connsiteX851" fmla="*/ 17898 w 51323"/>
                <a:gd name="connsiteY851" fmla="*/ 47751 h 51323"/>
                <a:gd name="connsiteX852" fmla="*/ 17898 w 51323"/>
                <a:gd name="connsiteY852" fmla="*/ 47751 h 51323"/>
                <a:gd name="connsiteX853" fmla="*/ 18396 w 51323"/>
                <a:gd name="connsiteY853" fmla="*/ 48008 h 51323"/>
                <a:gd name="connsiteX854" fmla="*/ 18173 w 51323"/>
                <a:gd name="connsiteY854" fmla="*/ 48008 h 51323"/>
                <a:gd name="connsiteX855" fmla="*/ 20560 w 51323"/>
                <a:gd name="connsiteY855" fmla="*/ 10117 h 51323"/>
                <a:gd name="connsiteX856" fmla="*/ 20560 w 51323"/>
                <a:gd name="connsiteY856" fmla="*/ 9980 h 51323"/>
                <a:gd name="connsiteX857" fmla="*/ 20286 w 51323"/>
                <a:gd name="connsiteY857" fmla="*/ 10323 h 51323"/>
                <a:gd name="connsiteX858" fmla="*/ 19289 w 51323"/>
                <a:gd name="connsiteY858" fmla="*/ 10907 h 51323"/>
                <a:gd name="connsiteX859" fmla="*/ 19152 w 51323"/>
                <a:gd name="connsiteY859" fmla="*/ 11165 h 51323"/>
                <a:gd name="connsiteX860" fmla="*/ 19152 w 51323"/>
                <a:gd name="connsiteY860" fmla="*/ 11165 h 51323"/>
                <a:gd name="connsiteX861" fmla="*/ 18997 w 51323"/>
                <a:gd name="connsiteY861" fmla="*/ 11165 h 51323"/>
                <a:gd name="connsiteX862" fmla="*/ 18585 w 51323"/>
                <a:gd name="connsiteY862" fmla="*/ 11577 h 51323"/>
                <a:gd name="connsiteX863" fmla="*/ 18259 w 51323"/>
                <a:gd name="connsiteY863" fmla="*/ 11903 h 51323"/>
                <a:gd name="connsiteX864" fmla="*/ 18001 w 51323"/>
                <a:gd name="connsiteY864" fmla="*/ 12109 h 51323"/>
                <a:gd name="connsiteX865" fmla="*/ 17743 w 51323"/>
                <a:gd name="connsiteY865" fmla="*/ 12006 h 51323"/>
                <a:gd name="connsiteX866" fmla="*/ 17503 w 51323"/>
                <a:gd name="connsiteY866" fmla="*/ 11783 h 51323"/>
                <a:gd name="connsiteX867" fmla="*/ 18018 w 51323"/>
                <a:gd name="connsiteY867" fmla="*/ 10461 h 51323"/>
                <a:gd name="connsiteX868" fmla="*/ 18448 w 51323"/>
                <a:gd name="connsiteY868" fmla="*/ 10134 h 51323"/>
                <a:gd name="connsiteX869" fmla="*/ 18448 w 51323"/>
                <a:gd name="connsiteY869" fmla="*/ 9739 h 51323"/>
                <a:gd name="connsiteX870" fmla="*/ 18345 w 51323"/>
                <a:gd name="connsiteY870" fmla="*/ 9739 h 51323"/>
                <a:gd name="connsiteX871" fmla="*/ 18963 w 51323"/>
                <a:gd name="connsiteY871" fmla="*/ 9344 h 51323"/>
                <a:gd name="connsiteX872" fmla="*/ 18774 w 51323"/>
                <a:gd name="connsiteY872" fmla="*/ 9104 h 51323"/>
                <a:gd name="connsiteX873" fmla="*/ 19324 w 51323"/>
                <a:gd name="connsiteY873" fmla="*/ 9104 h 51323"/>
                <a:gd name="connsiteX874" fmla="*/ 19324 w 51323"/>
                <a:gd name="connsiteY874" fmla="*/ 8966 h 51323"/>
                <a:gd name="connsiteX875" fmla="*/ 18946 w 51323"/>
                <a:gd name="connsiteY875" fmla="*/ 8966 h 51323"/>
                <a:gd name="connsiteX876" fmla="*/ 19598 w 51323"/>
                <a:gd name="connsiteY876" fmla="*/ 8674 h 51323"/>
                <a:gd name="connsiteX877" fmla="*/ 19598 w 51323"/>
                <a:gd name="connsiteY877" fmla="*/ 8674 h 51323"/>
                <a:gd name="connsiteX878" fmla="*/ 20182 w 51323"/>
                <a:gd name="connsiteY878" fmla="*/ 8193 h 51323"/>
                <a:gd name="connsiteX879" fmla="*/ 20354 w 51323"/>
                <a:gd name="connsiteY879" fmla="*/ 7953 h 51323"/>
                <a:gd name="connsiteX880" fmla="*/ 20560 w 51323"/>
                <a:gd name="connsiteY880" fmla="*/ 7764 h 51323"/>
                <a:gd name="connsiteX881" fmla="*/ 20681 w 51323"/>
                <a:gd name="connsiteY881" fmla="*/ 7386 h 51323"/>
                <a:gd name="connsiteX882" fmla="*/ 21746 w 51323"/>
                <a:gd name="connsiteY882" fmla="*/ 6338 h 51323"/>
                <a:gd name="connsiteX883" fmla="*/ 22914 w 51323"/>
                <a:gd name="connsiteY883" fmla="*/ 4981 h 51323"/>
                <a:gd name="connsiteX884" fmla="*/ 23326 w 51323"/>
                <a:gd name="connsiteY884" fmla="*/ 4844 h 51323"/>
                <a:gd name="connsiteX885" fmla="*/ 26761 w 51323"/>
                <a:gd name="connsiteY885" fmla="*/ 3693 h 51323"/>
                <a:gd name="connsiteX886" fmla="*/ 26881 w 51323"/>
                <a:gd name="connsiteY886" fmla="*/ 3693 h 51323"/>
                <a:gd name="connsiteX887" fmla="*/ 26607 w 51323"/>
                <a:gd name="connsiteY887" fmla="*/ 3951 h 51323"/>
                <a:gd name="connsiteX888" fmla="*/ 26211 w 51323"/>
                <a:gd name="connsiteY888" fmla="*/ 4208 h 51323"/>
                <a:gd name="connsiteX889" fmla="*/ 26211 w 51323"/>
                <a:gd name="connsiteY889" fmla="*/ 4329 h 51323"/>
                <a:gd name="connsiteX890" fmla="*/ 26074 w 51323"/>
                <a:gd name="connsiteY890" fmla="*/ 4500 h 51323"/>
                <a:gd name="connsiteX891" fmla="*/ 26383 w 51323"/>
                <a:gd name="connsiteY891" fmla="*/ 4621 h 51323"/>
                <a:gd name="connsiteX892" fmla="*/ 26057 w 51323"/>
                <a:gd name="connsiteY892" fmla="*/ 4947 h 51323"/>
                <a:gd name="connsiteX893" fmla="*/ 25301 w 51323"/>
                <a:gd name="connsiteY893" fmla="*/ 6235 h 51323"/>
                <a:gd name="connsiteX894" fmla="*/ 25112 w 51323"/>
                <a:gd name="connsiteY894" fmla="*/ 6373 h 51323"/>
                <a:gd name="connsiteX895" fmla="*/ 25009 w 51323"/>
                <a:gd name="connsiteY895" fmla="*/ 6596 h 51323"/>
                <a:gd name="connsiteX896" fmla="*/ 24751 w 51323"/>
                <a:gd name="connsiteY896" fmla="*/ 6596 h 51323"/>
                <a:gd name="connsiteX897" fmla="*/ 24751 w 51323"/>
                <a:gd name="connsiteY897" fmla="*/ 6768 h 51323"/>
                <a:gd name="connsiteX898" fmla="*/ 24751 w 51323"/>
                <a:gd name="connsiteY898" fmla="*/ 7180 h 51323"/>
                <a:gd name="connsiteX899" fmla="*/ 24442 w 51323"/>
                <a:gd name="connsiteY899" fmla="*/ 7489 h 51323"/>
                <a:gd name="connsiteX900" fmla="*/ 24133 w 51323"/>
                <a:gd name="connsiteY900" fmla="*/ 7489 h 51323"/>
                <a:gd name="connsiteX901" fmla="*/ 23738 w 51323"/>
                <a:gd name="connsiteY901" fmla="*/ 7626 h 51323"/>
                <a:gd name="connsiteX902" fmla="*/ 23738 w 51323"/>
                <a:gd name="connsiteY902" fmla="*/ 7781 h 51323"/>
                <a:gd name="connsiteX903" fmla="*/ 23824 w 51323"/>
                <a:gd name="connsiteY903" fmla="*/ 7987 h 51323"/>
                <a:gd name="connsiteX904" fmla="*/ 23583 w 51323"/>
                <a:gd name="connsiteY904" fmla="*/ 8262 h 51323"/>
                <a:gd name="connsiteX905" fmla="*/ 23137 w 51323"/>
                <a:gd name="connsiteY905" fmla="*/ 8520 h 51323"/>
                <a:gd name="connsiteX906" fmla="*/ 22931 w 51323"/>
                <a:gd name="connsiteY906" fmla="*/ 8726 h 51323"/>
                <a:gd name="connsiteX907" fmla="*/ 22931 w 51323"/>
                <a:gd name="connsiteY907" fmla="*/ 8846 h 51323"/>
                <a:gd name="connsiteX908" fmla="*/ 23446 w 51323"/>
                <a:gd name="connsiteY908" fmla="*/ 9121 h 51323"/>
                <a:gd name="connsiteX909" fmla="*/ 23137 w 51323"/>
                <a:gd name="connsiteY909" fmla="*/ 9275 h 51323"/>
                <a:gd name="connsiteX910" fmla="*/ 21952 w 51323"/>
                <a:gd name="connsiteY910" fmla="*/ 9396 h 51323"/>
                <a:gd name="connsiteX911" fmla="*/ 21831 w 51323"/>
                <a:gd name="connsiteY911" fmla="*/ 9653 h 51323"/>
                <a:gd name="connsiteX912" fmla="*/ 20560 w 51323"/>
                <a:gd name="connsiteY912" fmla="*/ 10117 h 51323"/>
                <a:gd name="connsiteX913" fmla="*/ 23669 w 51323"/>
                <a:gd name="connsiteY913" fmla="*/ 11440 h 51323"/>
                <a:gd name="connsiteX914" fmla="*/ 23412 w 51323"/>
                <a:gd name="connsiteY914" fmla="*/ 11440 h 51323"/>
                <a:gd name="connsiteX915" fmla="*/ 23274 w 51323"/>
                <a:gd name="connsiteY915" fmla="*/ 11319 h 51323"/>
                <a:gd name="connsiteX916" fmla="*/ 23274 w 51323"/>
                <a:gd name="connsiteY916" fmla="*/ 11319 h 51323"/>
                <a:gd name="connsiteX917" fmla="*/ 22965 w 51323"/>
                <a:gd name="connsiteY917" fmla="*/ 11319 h 51323"/>
                <a:gd name="connsiteX918" fmla="*/ 22965 w 51323"/>
                <a:gd name="connsiteY918" fmla="*/ 11319 h 51323"/>
                <a:gd name="connsiteX919" fmla="*/ 22965 w 51323"/>
                <a:gd name="connsiteY919" fmla="*/ 11233 h 51323"/>
                <a:gd name="connsiteX920" fmla="*/ 22965 w 51323"/>
                <a:gd name="connsiteY920" fmla="*/ 11233 h 51323"/>
                <a:gd name="connsiteX921" fmla="*/ 23206 w 51323"/>
                <a:gd name="connsiteY921" fmla="*/ 11148 h 51323"/>
                <a:gd name="connsiteX922" fmla="*/ 23206 w 51323"/>
                <a:gd name="connsiteY922" fmla="*/ 11027 h 51323"/>
                <a:gd name="connsiteX923" fmla="*/ 23206 w 51323"/>
                <a:gd name="connsiteY923" fmla="*/ 10941 h 51323"/>
                <a:gd name="connsiteX924" fmla="*/ 22948 w 51323"/>
                <a:gd name="connsiteY924" fmla="*/ 10821 h 51323"/>
                <a:gd name="connsiteX925" fmla="*/ 23223 w 51323"/>
                <a:gd name="connsiteY925" fmla="*/ 10821 h 51323"/>
                <a:gd name="connsiteX926" fmla="*/ 23412 w 51323"/>
                <a:gd name="connsiteY926" fmla="*/ 10718 h 51323"/>
                <a:gd name="connsiteX927" fmla="*/ 23412 w 51323"/>
                <a:gd name="connsiteY927" fmla="*/ 10718 h 51323"/>
                <a:gd name="connsiteX928" fmla="*/ 23412 w 51323"/>
                <a:gd name="connsiteY928" fmla="*/ 10632 h 51323"/>
                <a:gd name="connsiteX929" fmla="*/ 23412 w 51323"/>
                <a:gd name="connsiteY929" fmla="*/ 10632 h 51323"/>
                <a:gd name="connsiteX930" fmla="*/ 23412 w 51323"/>
                <a:gd name="connsiteY930" fmla="*/ 10632 h 51323"/>
                <a:gd name="connsiteX931" fmla="*/ 23412 w 51323"/>
                <a:gd name="connsiteY931" fmla="*/ 10632 h 51323"/>
                <a:gd name="connsiteX932" fmla="*/ 23291 w 51323"/>
                <a:gd name="connsiteY932" fmla="*/ 10632 h 51323"/>
                <a:gd name="connsiteX933" fmla="*/ 23291 w 51323"/>
                <a:gd name="connsiteY933" fmla="*/ 10632 h 51323"/>
                <a:gd name="connsiteX934" fmla="*/ 23291 w 51323"/>
                <a:gd name="connsiteY934" fmla="*/ 10632 h 51323"/>
                <a:gd name="connsiteX935" fmla="*/ 23291 w 51323"/>
                <a:gd name="connsiteY935" fmla="*/ 10632 h 51323"/>
                <a:gd name="connsiteX936" fmla="*/ 23291 w 51323"/>
                <a:gd name="connsiteY936" fmla="*/ 10632 h 51323"/>
                <a:gd name="connsiteX937" fmla="*/ 23291 w 51323"/>
                <a:gd name="connsiteY937" fmla="*/ 10632 h 51323"/>
                <a:gd name="connsiteX938" fmla="*/ 23291 w 51323"/>
                <a:gd name="connsiteY938" fmla="*/ 10632 h 51323"/>
                <a:gd name="connsiteX939" fmla="*/ 23291 w 51323"/>
                <a:gd name="connsiteY939" fmla="*/ 10478 h 51323"/>
                <a:gd name="connsiteX940" fmla="*/ 23291 w 51323"/>
                <a:gd name="connsiteY940" fmla="*/ 10581 h 51323"/>
                <a:gd name="connsiteX941" fmla="*/ 23291 w 51323"/>
                <a:gd name="connsiteY941" fmla="*/ 10581 h 51323"/>
                <a:gd name="connsiteX942" fmla="*/ 23291 w 51323"/>
                <a:gd name="connsiteY942" fmla="*/ 10581 h 51323"/>
                <a:gd name="connsiteX943" fmla="*/ 23291 w 51323"/>
                <a:gd name="connsiteY943" fmla="*/ 10667 h 51323"/>
                <a:gd name="connsiteX944" fmla="*/ 23291 w 51323"/>
                <a:gd name="connsiteY944" fmla="*/ 10787 h 51323"/>
                <a:gd name="connsiteX945" fmla="*/ 23291 w 51323"/>
                <a:gd name="connsiteY945" fmla="*/ 10873 h 51323"/>
                <a:gd name="connsiteX946" fmla="*/ 23429 w 51323"/>
                <a:gd name="connsiteY946" fmla="*/ 10701 h 51323"/>
                <a:gd name="connsiteX947" fmla="*/ 23601 w 51323"/>
                <a:gd name="connsiteY947" fmla="*/ 10461 h 51323"/>
                <a:gd name="connsiteX948" fmla="*/ 23601 w 51323"/>
                <a:gd name="connsiteY948" fmla="*/ 10598 h 51323"/>
                <a:gd name="connsiteX949" fmla="*/ 23790 w 51323"/>
                <a:gd name="connsiteY949" fmla="*/ 10478 h 51323"/>
                <a:gd name="connsiteX950" fmla="*/ 23790 w 51323"/>
                <a:gd name="connsiteY950" fmla="*/ 10787 h 51323"/>
                <a:gd name="connsiteX951" fmla="*/ 23961 w 51323"/>
                <a:gd name="connsiteY951" fmla="*/ 10512 h 51323"/>
                <a:gd name="connsiteX952" fmla="*/ 24099 w 51323"/>
                <a:gd name="connsiteY952" fmla="*/ 10512 h 51323"/>
                <a:gd name="connsiteX953" fmla="*/ 24322 w 51323"/>
                <a:gd name="connsiteY953" fmla="*/ 10512 h 51323"/>
                <a:gd name="connsiteX954" fmla="*/ 24528 w 51323"/>
                <a:gd name="connsiteY954" fmla="*/ 10512 h 51323"/>
                <a:gd name="connsiteX955" fmla="*/ 24528 w 51323"/>
                <a:gd name="connsiteY955" fmla="*/ 10632 h 51323"/>
                <a:gd name="connsiteX956" fmla="*/ 24528 w 51323"/>
                <a:gd name="connsiteY956" fmla="*/ 10804 h 51323"/>
                <a:gd name="connsiteX957" fmla="*/ 24528 w 51323"/>
                <a:gd name="connsiteY957" fmla="*/ 10804 h 51323"/>
                <a:gd name="connsiteX958" fmla="*/ 24528 w 51323"/>
                <a:gd name="connsiteY958" fmla="*/ 10924 h 51323"/>
                <a:gd name="connsiteX959" fmla="*/ 24528 w 51323"/>
                <a:gd name="connsiteY959" fmla="*/ 11148 h 51323"/>
                <a:gd name="connsiteX960" fmla="*/ 24288 w 51323"/>
                <a:gd name="connsiteY960" fmla="*/ 11148 h 51323"/>
                <a:gd name="connsiteX961" fmla="*/ 23978 w 51323"/>
                <a:gd name="connsiteY961" fmla="*/ 11388 h 51323"/>
                <a:gd name="connsiteX962" fmla="*/ 23978 w 51323"/>
                <a:gd name="connsiteY962" fmla="*/ 11388 h 51323"/>
                <a:gd name="connsiteX963" fmla="*/ 23790 w 51323"/>
                <a:gd name="connsiteY963" fmla="*/ 11388 h 51323"/>
                <a:gd name="connsiteX964" fmla="*/ 23790 w 51323"/>
                <a:gd name="connsiteY964" fmla="*/ 11388 h 51323"/>
                <a:gd name="connsiteX965" fmla="*/ 23669 w 51323"/>
                <a:gd name="connsiteY965" fmla="*/ 11440 h 51323"/>
                <a:gd name="connsiteX966" fmla="*/ 38184 w 51323"/>
                <a:gd name="connsiteY966" fmla="*/ 41533 h 51323"/>
                <a:gd name="connsiteX967" fmla="*/ 38802 w 51323"/>
                <a:gd name="connsiteY967" fmla="*/ 40640 h 51323"/>
                <a:gd name="connsiteX968" fmla="*/ 39540 w 51323"/>
                <a:gd name="connsiteY968" fmla="*/ 39523 h 51323"/>
                <a:gd name="connsiteX969" fmla="*/ 39540 w 51323"/>
                <a:gd name="connsiteY969" fmla="*/ 39523 h 51323"/>
                <a:gd name="connsiteX970" fmla="*/ 39540 w 51323"/>
                <a:gd name="connsiteY970" fmla="*/ 39523 h 51323"/>
                <a:gd name="connsiteX971" fmla="*/ 39781 w 51323"/>
                <a:gd name="connsiteY971" fmla="*/ 39386 h 51323"/>
                <a:gd name="connsiteX972" fmla="*/ 39953 w 51323"/>
                <a:gd name="connsiteY972" fmla="*/ 39386 h 51323"/>
                <a:gd name="connsiteX973" fmla="*/ 39953 w 51323"/>
                <a:gd name="connsiteY973" fmla="*/ 39386 h 51323"/>
                <a:gd name="connsiteX974" fmla="*/ 39953 w 51323"/>
                <a:gd name="connsiteY974" fmla="*/ 39248 h 51323"/>
                <a:gd name="connsiteX975" fmla="*/ 39953 w 51323"/>
                <a:gd name="connsiteY975" fmla="*/ 39248 h 51323"/>
                <a:gd name="connsiteX976" fmla="*/ 39953 w 51323"/>
                <a:gd name="connsiteY976" fmla="*/ 39248 h 51323"/>
                <a:gd name="connsiteX977" fmla="*/ 39953 w 51323"/>
                <a:gd name="connsiteY977" fmla="*/ 39369 h 51323"/>
                <a:gd name="connsiteX978" fmla="*/ 40107 w 51323"/>
                <a:gd name="connsiteY978" fmla="*/ 39266 h 51323"/>
                <a:gd name="connsiteX979" fmla="*/ 40107 w 51323"/>
                <a:gd name="connsiteY979" fmla="*/ 39145 h 51323"/>
                <a:gd name="connsiteX980" fmla="*/ 40107 w 51323"/>
                <a:gd name="connsiteY980" fmla="*/ 39042 h 51323"/>
                <a:gd name="connsiteX981" fmla="*/ 40262 w 51323"/>
                <a:gd name="connsiteY981" fmla="*/ 38939 h 51323"/>
                <a:gd name="connsiteX982" fmla="*/ 40485 w 51323"/>
                <a:gd name="connsiteY982" fmla="*/ 38561 h 51323"/>
                <a:gd name="connsiteX983" fmla="*/ 40674 w 51323"/>
                <a:gd name="connsiteY983" fmla="*/ 38441 h 51323"/>
                <a:gd name="connsiteX984" fmla="*/ 40674 w 51323"/>
                <a:gd name="connsiteY984" fmla="*/ 38664 h 51323"/>
                <a:gd name="connsiteX985" fmla="*/ 38184 w 51323"/>
                <a:gd name="connsiteY985" fmla="*/ 41533 h 51323"/>
                <a:gd name="connsiteX986" fmla="*/ 49159 w 51323"/>
                <a:gd name="connsiteY986" fmla="*/ 26589 h 51323"/>
                <a:gd name="connsiteX987" fmla="*/ 49159 w 51323"/>
                <a:gd name="connsiteY987" fmla="*/ 26589 h 51323"/>
                <a:gd name="connsiteX988" fmla="*/ 48386 w 51323"/>
                <a:gd name="connsiteY988" fmla="*/ 30643 h 51323"/>
                <a:gd name="connsiteX989" fmla="*/ 48215 w 51323"/>
                <a:gd name="connsiteY989" fmla="*/ 30849 h 51323"/>
                <a:gd name="connsiteX990" fmla="*/ 47613 w 51323"/>
                <a:gd name="connsiteY990" fmla="*/ 26452 h 51323"/>
                <a:gd name="connsiteX991" fmla="*/ 47613 w 51323"/>
                <a:gd name="connsiteY991" fmla="*/ 26160 h 51323"/>
                <a:gd name="connsiteX992" fmla="*/ 47528 w 51323"/>
                <a:gd name="connsiteY992" fmla="*/ 26160 h 51323"/>
                <a:gd name="connsiteX993" fmla="*/ 47098 w 51323"/>
                <a:gd name="connsiteY993" fmla="*/ 26606 h 51323"/>
                <a:gd name="connsiteX994" fmla="*/ 46995 w 51323"/>
                <a:gd name="connsiteY994" fmla="*/ 26383 h 51323"/>
                <a:gd name="connsiteX995" fmla="*/ 46995 w 51323"/>
                <a:gd name="connsiteY995" fmla="*/ 26383 h 51323"/>
                <a:gd name="connsiteX996" fmla="*/ 46995 w 51323"/>
                <a:gd name="connsiteY996" fmla="*/ 26383 h 51323"/>
                <a:gd name="connsiteX997" fmla="*/ 47081 w 51323"/>
                <a:gd name="connsiteY997" fmla="*/ 26040 h 51323"/>
                <a:gd name="connsiteX998" fmla="*/ 46806 w 51323"/>
                <a:gd name="connsiteY998" fmla="*/ 25833 h 51323"/>
                <a:gd name="connsiteX999" fmla="*/ 46686 w 51323"/>
                <a:gd name="connsiteY999" fmla="*/ 25971 h 51323"/>
                <a:gd name="connsiteX1000" fmla="*/ 46549 w 51323"/>
                <a:gd name="connsiteY1000" fmla="*/ 25971 h 51323"/>
                <a:gd name="connsiteX1001" fmla="*/ 46428 w 51323"/>
                <a:gd name="connsiteY1001" fmla="*/ 25559 h 51323"/>
                <a:gd name="connsiteX1002" fmla="*/ 46119 w 51323"/>
                <a:gd name="connsiteY1002" fmla="*/ 25438 h 51323"/>
                <a:gd name="connsiteX1003" fmla="*/ 45913 w 51323"/>
                <a:gd name="connsiteY1003" fmla="*/ 25610 h 51323"/>
                <a:gd name="connsiteX1004" fmla="*/ 45741 w 51323"/>
                <a:gd name="connsiteY1004" fmla="*/ 25610 h 51323"/>
                <a:gd name="connsiteX1005" fmla="*/ 45552 w 51323"/>
                <a:gd name="connsiteY1005" fmla="*/ 25765 h 51323"/>
                <a:gd name="connsiteX1006" fmla="*/ 45432 w 51323"/>
                <a:gd name="connsiteY1006" fmla="*/ 25765 h 51323"/>
                <a:gd name="connsiteX1007" fmla="*/ 45209 w 51323"/>
                <a:gd name="connsiteY1007" fmla="*/ 25679 h 51323"/>
                <a:gd name="connsiteX1008" fmla="*/ 44728 w 51323"/>
                <a:gd name="connsiteY1008" fmla="*/ 25679 h 51323"/>
                <a:gd name="connsiteX1009" fmla="*/ 44453 w 51323"/>
                <a:gd name="connsiteY1009" fmla="*/ 25679 h 51323"/>
                <a:gd name="connsiteX1010" fmla="*/ 43663 w 51323"/>
                <a:gd name="connsiteY1010" fmla="*/ 25404 h 51323"/>
                <a:gd name="connsiteX1011" fmla="*/ 43285 w 51323"/>
                <a:gd name="connsiteY1011" fmla="*/ 25146 h 51323"/>
                <a:gd name="connsiteX1012" fmla="*/ 42804 w 51323"/>
                <a:gd name="connsiteY1012" fmla="*/ 24803 h 51323"/>
                <a:gd name="connsiteX1013" fmla="*/ 42804 w 51323"/>
                <a:gd name="connsiteY1013" fmla="*/ 24803 h 51323"/>
                <a:gd name="connsiteX1014" fmla="*/ 42375 w 51323"/>
                <a:gd name="connsiteY1014" fmla="*/ 24425 h 51323"/>
                <a:gd name="connsiteX1015" fmla="*/ 42272 w 51323"/>
                <a:gd name="connsiteY1015" fmla="*/ 24270 h 51323"/>
                <a:gd name="connsiteX1016" fmla="*/ 42272 w 51323"/>
                <a:gd name="connsiteY1016" fmla="*/ 24270 h 51323"/>
                <a:gd name="connsiteX1017" fmla="*/ 42272 w 51323"/>
                <a:gd name="connsiteY1017" fmla="*/ 24270 h 51323"/>
                <a:gd name="connsiteX1018" fmla="*/ 42100 w 51323"/>
                <a:gd name="connsiteY1018" fmla="*/ 24597 h 51323"/>
                <a:gd name="connsiteX1019" fmla="*/ 42220 w 51323"/>
                <a:gd name="connsiteY1019" fmla="*/ 24597 h 51323"/>
                <a:gd name="connsiteX1020" fmla="*/ 42220 w 51323"/>
                <a:gd name="connsiteY1020" fmla="*/ 24597 h 51323"/>
                <a:gd name="connsiteX1021" fmla="*/ 42220 w 51323"/>
                <a:gd name="connsiteY1021" fmla="*/ 24734 h 51323"/>
                <a:gd name="connsiteX1022" fmla="*/ 42220 w 51323"/>
                <a:gd name="connsiteY1022" fmla="*/ 24734 h 51323"/>
                <a:gd name="connsiteX1023" fmla="*/ 42512 w 51323"/>
                <a:gd name="connsiteY1023" fmla="*/ 25112 h 51323"/>
                <a:gd name="connsiteX1024" fmla="*/ 42770 w 51323"/>
                <a:gd name="connsiteY1024" fmla="*/ 25610 h 51323"/>
                <a:gd name="connsiteX1025" fmla="*/ 42770 w 51323"/>
                <a:gd name="connsiteY1025" fmla="*/ 25610 h 51323"/>
                <a:gd name="connsiteX1026" fmla="*/ 43045 w 51323"/>
                <a:gd name="connsiteY1026" fmla="*/ 25782 h 51323"/>
                <a:gd name="connsiteX1027" fmla="*/ 43165 w 51323"/>
                <a:gd name="connsiteY1027" fmla="*/ 25627 h 51323"/>
                <a:gd name="connsiteX1028" fmla="*/ 43165 w 51323"/>
                <a:gd name="connsiteY1028" fmla="*/ 26108 h 51323"/>
                <a:gd name="connsiteX1029" fmla="*/ 43165 w 51323"/>
                <a:gd name="connsiteY1029" fmla="*/ 26211 h 51323"/>
                <a:gd name="connsiteX1030" fmla="*/ 43165 w 51323"/>
                <a:gd name="connsiteY1030" fmla="*/ 26366 h 51323"/>
                <a:gd name="connsiteX1031" fmla="*/ 43766 w 51323"/>
                <a:gd name="connsiteY1031" fmla="*/ 26091 h 51323"/>
                <a:gd name="connsiteX1032" fmla="*/ 43766 w 51323"/>
                <a:gd name="connsiteY1032" fmla="*/ 26091 h 51323"/>
                <a:gd name="connsiteX1033" fmla="*/ 44058 w 51323"/>
                <a:gd name="connsiteY1033" fmla="*/ 25318 h 51323"/>
                <a:gd name="connsiteX1034" fmla="*/ 44058 w 51323"/>
                <a:gd name="connsiteY1034" fmla="*/ 25318 h 51323"/>
                <a:gd name="connsiteX1035" fmla="*/ 44058 w 51323"/>
                <a:gd name="connsiteY1035" fmla="*/ 25215 h 51323"/>
                <a:gd name="connsiteX1036" fmla="*/ 44058 w 51323"/>
                <a:gd name="connsiteY1036" fmla="*/ 25507 h 51323"/>
                <a:gd name="connsiteX1037" fmla="*/ 44642 w 51323"/>
                <a:gd name="connsiteY1037" fmla="*/ 26091 h 51323"/>
                <a:gd name="connsiteX1038" fmla="*/ 44642 w 51323"/>
                <a:gd name="connsiteY1038" fmla="*/ 27311 h 51323"/>
                <a:gd name="connsiteX1039" fmla="*/ 44642 w 51323"/>
                <a:gd name="connsiteY1039" fmla="*/ 27877 h 51323"/>
                <a:gd name="connsiteX1040" fmla="*/ 44109 w 51323"/>
                <a:gd name="connsiteY1040" fmla="*/ 28376 h 51323"/>
                <a:gd name="connsiteX1041" fmla="*/ 44109 w 51323"/>
                <a:gd name="connsiteY1041" fmla="*/ 28719 h 51323"/>
                <a:gd name="connsiteX1042" fmla="*/ 43457 w 51323"/>
                <a:gd name="connsiteY1042" fmla="*/ 29114 h 51323"/>
                <a:gd name="connsiteX1043" fmla="*/ 42684 w 51323"/>
                <a:gd name="connsiteY1043" fmla="*/ 29767 h 51323"/>
                <a:gd name="connsiteX1044" fmla="*/ 42357 w 51323"/>
                <a:gd name="connsiteY1044" fmla="*/ 29990 h 51323"/>
                <a:gd name="connsiteX1045" fmla="*/ 41791 w 51323"/>
                <a:gd name="connsiteY1045" fmla="*/ 30248 h 51323"/>
                <a:gd name="connsiteX1046" fmla="*/ 41172 w 51323"/>
                <a:gd name="connsiteY1046" fmla="*/ 30626 h 51323"/>
                <a:gd name="connsiteX1047" fmla="*/ 40897 w 51323"/>
                <a:gd name="connsiteY1047" fmla="*/ 29629 h 51323"/>
                <a:gd name="connsiteX1048" fmla="*/ 39850 w 51323"/>
                <a:gd name="connsiteY1048" fmla="*/ 27706 h 51323"/>
                <a:gd name="connsiteX1049" fmla="*/ 39283 w 51323"/>
                <a:gd name="connsiteY1049" fmla="*/ 26606 h 51323"/>
                <a:gd name="connsiteX1050" fmla="*/ 38338 w 51323"/>
                <a:gd name="connsiteY1050" fmla="*/ 24751 h 51323"/>
                <a:gd name="connsiteX1051" fmla="*/ 38201 w 51323"/>
                <a:gd name="connsiteY1051" fmla="*/ 25438 h 51323"/>
                <a:gd name="connsiteX1052" fmla="*/ 37548 w 51323"/>
                <a:gd name="connsiteY1052" fmla="*/ 24717 h 51323"/>
                <a:gd name="connsiteX1053" fmla="*/ 38682 w 51323"/>
                <a:gd name="connsiteY1053" fmla="*/ 26692 h 51323"/>
                <a:gd name="connsiteX1054" fmla="*/ 38682 w 51323"/>
                <a:gd name="connsiteY1054" fmla="*/ 26692 h 51323"/>
                <a:gd name="connsiteX1055" fmla="*/ 38819 w 51323"/>
                <a:gd name="connsiteY1055" fmla="*/ 26830 h 51323"/>
                <a:gd name="connsiteX1056" fmla="*/ 38699 w 51323"/>
                <a:gd name="connsiteY1056" fmla="*/ 26830 h 51323"/>
                <a:gd name="connsiteX1057" fmla="*/ 39317 w 51323"/>
                <a:gd name="connsiteY1057" fmla="*/ 27826 h 51323"/>
                <a:gd name="connsiteX1058" fmla="*/ 39317 w 51323"/>
                <a:gd name="connsiteY1058" fmla="*/ 28376 h 51323"/>
                <a:gd name="connsiteX1059" fmla="*/ 39712 w 51323"/>
                <a:gd name="connsiteY1059" fmla="*/ 28891 h 51323"/>
                <a:gd name="connsiteX1060" fmla="*/ 40021 w 51323"/>
                <a:gd name="connsiteY1060" fmla="*/ 29715 h 51323"/>
                <a:gd name="connsiteX1061" fmla="*/ 40021 w 51323"/>
                <a:gd name="connsiteY1061" fmla="*/ 29801 h 51323"/>
                <a:gd name="connsiteX1062" fmla="*/ 40193 w 51323"/>
                <a:gd name="connsiteY1062" fmla="*/ 29939 h 51323"/>
                <a:gd name="connsiteX1063" fmla="*/ 40932 w 51323"/>
                <a:gd name="connsiteY1063" fmla="*/ 30626 h 51323"/>
                <a:gd name="connsiteX1064" fmla="*/ 41035 w 51323"/>
                <a:gd name="connsiteY1064" fmla="*/ 30746 h 51323"/>
                <a:gd name="connsiteX1065" fmla="*/ 40794 w 51323"/>
                <a:gd name="connsiteY1065" fmla="*/ 31038 h 51323"/>
                <a:gd name="connsiteX1066" fmla="*/ 41327 w 51323"/>
                <a:gd name="connsiteY1066" fmla="*/ 31450 h 51323"/>
                <a:gd name="connsiteX1067" fmla="*/ 42770 w 51323"/>
                <a:gd name="connsiteY1067" fmla="*/ 30901 h 51323"/>
                <a:gd name="connsiteX1068" fmla="*/ 42993 w 51323"/>
                <a:gd name="connsiteY1068" fmla="*/ 30660 h 51323"/>
                <a:gd name="connsiteX1069" fmla="*/ 42993 w 51323"/>
                <a:gd name="connsiteY1069" fmla="*/ 31210 h 51323"/>
                <a:gd name="connsiteX1070" fmla="*/ 42993 w 51323"/>
                <a:gd name="connsiteY1070" fmla="*/ 31210 h 51323"/>
                <a:gd name="connsiteX1071" fmla="*/ 38922 w 51323"/>
                <a:gd name="connsiteY1071" fmla="*/ 37033 h 51323"/>
                <a:gd name="connsiteX1072" fmla="*/ 38802 w 51323"/>
                <a:gd name="connsiteY1072" fmla="*/ 37307 h 51323"/>
                <a:gd name="connsiteX1073" fmla="*/ 38802 w 51323"/>
                <a:gd name="connsiteY1073" fmla="*/ 38012 h 51323"/>
                <a:gd name="connsiteX1074" fmla="*/ 38355 w 51323"/>
                <a:gd name="connsiteY1074" fmla="*/ 39248 h 51323"/>
                <a:gd name="connsiteX1075" fmla="*/ 38355 w 51323"/>
                <a:gd name="connsiteY1075" fmla="*/ 39351 h 51323"/>
                <a:gd name="connsiteX1076" fmla="*/ 37119 w 51323"/>
                <a:gd name="connsiteY1076" fmla="*/ 40193 h 51323"/>
                <a:gd name="connsiteX1077" fmla="*/ 37119 w 51323"/>
                <a:gd name="connsiteY1077" fmla="*/ 40193 h 51323"/>
                <a:gd name="connsiteX1078" fmla="*/ 36311 w 51323"/>
                <a:gd name="connsiteY1078" fmla="*/ 40691 h 51323"/>
                <a:gd name="connsiteX1079" fmla="*/ 36311 w 51323"/>
                <a:gd name="connsiteY1079" fmla="*/ 40880 h 51323"/>
                <a:gd name="connsiteX1080" fmla="*/ 36311 w 51323"/>
                <a:gd name="connsiteY1080" fmla="*/ 41035 h 51323"/>
                <a:gd name="connsiteX1081" fmla="*/ 36311 w 51323"/>
                <a:gd name="connsiteY1081" fmla="*/ 41395 h 51323"/>
                <a:gd name="connsiteX1082" fmla="*/ 36311 w 51323"/>
                <a:gd name="connsiteY1082" fmla="*/ 41292 h 51323"/>
                <a:gd name="connsiteX1083" fmla="*/ 36311 w 51323"/>
                <a:gd name="connsiteY1083" fmla="*/ 41292 h 51323"/>
                <a:gd name="connsiteX1084" fmla="*/ 36311 w 51323"/>
                <a:gd name="connsiteY1084" fmla="*/ 41292 h 51323"/>
                <a:gd name="connsiteX1085" fmla="*/ 36054 w 51323"/>
                <a:gd name="connsiteY1085" fmla="*/ 41705 h 51323"/>
                <a:gd name="connsiteX1086" fmla="*/ 36054 w 51323"/>
                <a:gd name="connsiteY1086" fmla="*/ 41705 h 51323"/>
                <a:gd name="connsiteX1087" fmla="*/ 35006 w 51323"/>
                <a:gd name="connsiteY1087" fmla="*/ 42392 h 51323"/>
                <a:gd name="connsiteX1088" fmla="*/ 35126 w 51323"/>
                <a:gd name="connsiteY1088" fmla="*/ 42392 h 51323"/>
                <a:gd name="connsiteX1089" fmla="*/ 34954 w 51323"/>
                <a:gd name="connsiteY1089" fmla="*/ 42598 h 51323"/>
                <a:gd name="connsiteX1090" fmla="*/ 34954 w 51323"/>
                <a:gd name="connsiteY1090" fmla="*/ 42598 h 51323"/>
                <a:gd name="connsiteX1091" fmla="*/ 32051 w 51323"/>
                <a:gd name="connsiteY1091" fmla="*/ 44315 h 51323"/>
                <a:gd name="connsiteX1092" fmla="*/ 30660 w 51323"/>
                <a:gd name="connsiteY1092" fmla="*/ 44418 h 51323"/>
                <a:gd name="connsiteX1093" fmla="*/ 30660 w 51323"/>
                <a:gd name="connsiteY1093" fmla="*/ 44418 h 51323"/>
                <a:gd name="connsiteX1094" fmla="*/ 30660 w 51323"/>
                <a:gd name="connsiteY1094" fmla="*/ 44418 h 51323"/>
                <a:gd name="connsiteX1095" fmla="*/ 30660 w 51323"/>
                <a:gd name="connsiteY1095" fmla="*/ 44092 h 51323"/>
                <a:gd name="connsiteX1096" fmla="*/ 30660 w 51323"/>
                <a:gd name="connsiteY1096" fmla="*/ 43199 h 51323"/>
                <a:gd name="connsiteX1097" fmla="*/ 29836 w 51323"/>
                <a:gd name="connsiteY1097" fmla="*/ 40296 h 51323"/>
                <a:gd name="connsiteX1098" fmla="*/ 30591 w 51323"/>
                <a:gd name="connsiteY1098" fmla="*/ 38046 h 51323"/>
                <a:gd name="connsiteX1099" fmla="*/ 30471 w 51323"/>
                <a:gd name="connsiteY1099" fmla="*/ 37204 h 51323"/>
                <a:gd name="connsiteX1100" fmla="*/ 30574 w 51323"/>
                <a:gd name="connsiteY1100" fmla="*/ 37204 h 51323"/>
                <a:gd name="connsiteX1101" fmla="*/ 30454 w 51323"/>
                <a:gd name="connsiteY1101" fmla="*/ 37050 h 51323"/>
                <a:gd name="connsiteX1102" fmla="*/ 29423 w 51323"/>
                <a:gd name="connsiteY1102" fmla="*/ 35607 h 51323"/>
                <a:gd name="connsiteX1103" fmla="*/ 29630 w 51323"/>
                <a:gd name="connsiteY1103" fmla="*/ 35298 h 51323"/>
                <a:gd name="connsiteX1104" fmla="*/ 29819 w 51323"/>
                <a:gd name="connsiteY1104" fmla="*/ 35298 h 51323"/>
                <a:gd name="connsiteX1105" fmla="*/ 29647 w 51323"/>
                <a:gd name="connsiteY1105" fmla="*/ 35177 h 51323"/>
                <a:gd name="connsiteX1106" fmla="*/ 29647 w 51323"/>
                <a:gd name="connsiteY1106" fmla="*/ 35040 h 51323"/>
                <a:gd name="connsiteX1107" fmla="*/ 29836 w 51323"/>
                <a:gd name="connsiteY1107" fmla="*/ 34095 h 51323"/>
                <a:gd name="connsiteX1108" fmla="*/ 29612 w 51323"/>
                <a:gd name="connsiteY1108" fmla="*/ 33906 h 51323"/>
                <a:gd name="connsiteX1109" fmla="*/ 29423 w 51323"/>
                <a:gd name="connsiteY1109" fmla="*/ 33906 h 51323"/>
                <a:gd name="connsiteX1110" fmla="*/ 28496 w 51323"/>
                <a:gd name="connsiteY1110" fmla="*/ 34044 h 51323"/>
                <a:gd name="connsiteX1111" fmla="*/ 25937 w 51323"/>
                <a:gd name="connsiteY1111" fmla="*/ 33821 h 51323"/>
                <a:gd name="connsiteX1112" fmla="*/ 22501 w 51323"/>
                <a:gd name="connsiteY1112" fmla="*/ 32687 h 51323"/>
                <a:gd name="connsiteX1113" fmla="*/ 22226 w 51323"/>
                <a:gd name="connsiteY1113" fmla="*/ 32361 h 51323"/>
                <a:gd name="connsiteX1114" fmla="*/ 22226 w 51323"/>
                <a:gd name="connsiteY1114" fmla="*/ 32137 h 51323"/>
                <a:gd name="connsiteX1115" fmla="*/ 21986 w 51323"/>
                <a:gd name="connsiteY1115" fmla="*/ 31828 h 51323"/>
                <a:gd name="connsiteX1116" fmla="*/ 21591 w 51323"/>
                <a:gd name="connsiteY1116" fmla="*/ 31536 h 51323"/>
                <a:gd name="connsiteX1117" fmla="*/ 21436 w 51323"/>
                <a:gd name="connsiteY1117" fmla="*/ 31450 h 51323"/>
                <a:gd name="connsiteX1118" fmla="*/ 21436 w 51323"/>
                <a:gd name="connsiteY1118" fmla="*/ 31450 h 51323"/>
                <a:gd name="connsiteX1119" fmla="*/ 21436 w 51323"/>
                <a:gd name="connsiteY1119" fmla="*/ 31450 h 51323"/>
                <a:gd name="connsiteX1120" fmla="*/ 21436 w 51323"/>
                <a:gd name="connsiteY1120" fmla="*/ 31347 h 51323"/>
                <a:gd name="connsiteX1121" fmla="*/ 21642 w 51323"/>
                <a:gd name="connsiteY1121" fmla="*/ 31347 h 51323"/>
                <a:gd name="connsiteX1122" fmla="*/ 21247 w 51323"/>
                <a:gd name="connsiteY1122" fmla="*/ 31158 h 51323"/>
                <a:gd name="connsiteX1123" fmla="*/ 21041 w 51323"/>
                <a:gd name="connsiteY1123" fmla="*/ 30986 h 51323"/>
                <a:gd name="connsiteX1124" fmla="*/ 21213 w 51323"/>
                <a:gd name="connsiteY1124" fmla="*/ 30986 h 51323"/>
                <a:gd name="connsiteX1125" fmla="*/ 21024 w 51323"/>
                <a:gd name="connsiteY1125" fmla="*/ 30986 h 51323"/>
                <a:gd name="connsiteX1126" fmla="*/ 21024 w 51323"/>
                <a:gd name="connsiteY1126" fmla="*/ 30780 h 51323"/>
                <a:gd name="connsiteX1127" fmla="*/ 21299 w 51323"/>
                <a:gd name="connsiteY1127" fmla="*/ 30780 h 51323"/>
                <a:gd name="connsiteX1128" fmla="*/ 21144 w 51323"/>
                <a:gd name="connsiteY1128" fmla="*/ 30626 h 51323"/>
                <a:gd name="connsiteX1129" fmla="*/ 21144 w 51323"/>
                <a:gd name="connsiteY1129" fmla="*/ 30626 h 51323"/>
                <a:gd name="connsiteX1130" fmla="*/ 20921 w 51323"/>
                <a:gd name="connsiteY1130" fmla="*/ 30299 h 51323"/>
                <a:gd name="connsiteX1131" fmla="*/ 21333 w 51323"/>
                <a:gd name="connsiteY1131" fmla="*/ 28582 h 51323"/>
                <a:gd name="connsiteX1132" fmla="*/ 21436 w 51323"/>
                <a:gd name="connsiteY1132" fmla="*/ 28358 h 51323"/>
                <a:gd name="connsiteX1133" fmla="*/ 21247 w 51323"/>
                <a:gd name="connsiteY1133" fmla="*/ 28135 h 51323"/>
                <a:gd name="connsiteX1134" fmla="*/ 21247 w 51323"/>
                <a:gd name="connsiteY1134" fmla="*/ 28221 h 51323"/>
                <a:gd name="connsiteX1135" fmla="*/ 21591 w 51323"/>
                <a:gd name="connsiteY1135" fmla="*/ 27465 h 51323"/>
                <a:gd name="connsiteX1136" fmla="*/ 23927 w 51323"/>
                <a:gd name="connsiteY1136" fmla="*/ 25043 h 51323"/>
                <a:gd name="connsiteX1137" fmla="*/ 23927 w 51323"/>
                <a:gd name="connsiteY1137" fmla="*/ 24562 h 51323"/>
                <a:gd name="connsiteX1138" fmla="*/ 24133 w 51323"/>
                <a:gd name="connsiteY1138" fmla="*/ 24081 h 51323"/>
                <a:gd name="connsiteX1139" fmla="*/ 25473 w 51323"/>
                <a:gd name="connsiteY1139" fmla="*/ 22896 h 51323"/>
                <a:gd name="connsiteX1140" fmla="*/ 26194 w 51323"/>
                <a:gd name="connsiteY1140" fmla="*/ 23102 h 51323"/>
                <a:gd name="connsiteX1141" fmla="*/ 27586 w 51323"/>
                <a:gd name="connsiteY1141" fmla="*/ 22725 h 51323"/>
                <a:gd name="connsiteX1142" fmla="*/ 29063 w 51323"/>
                <a:gd name="connsiteY1142" fmla="*/ 22587 h 51323"/>
                <a:gd name="connsiteX1143" fmla="*/ 29372 w 51323"/>
                <a:gd name="connsiteY1143" fmla="*/ 22587 h 51323"/>
                <a:gd name="connsiteX1144" fmla="*/ 30162 w 51323"/>
                <a:gd name="connsiteY1144" fmla="*/ 22587 h 51323"/>
                <a:gd name="connsiteX1145" fmla="*/ 30385 w 51323"/>
                <a:gd name="connsiteY1145" fmla="*/ 22776 h 51323"/>
                <a:gd name="connsiteX1146" fmla="*/ 30385 w 51323"/>
                <a:gd name="connsiteY1146" fmla="*/ 23017 h 51323"/>
                <a:gd name="connsiteX1147" fmla="*/ 30385 w 51323"/>
                <a:gd name="connsiteY1147" fmla="*/ 23910 h 51323"/>
                <a:gd name="connsiteX1148" fmla="*/ 30506 w 51323"/>
                <a:gd name="connsiteY1148" fmla="*/ 23910 h 51323"/>
                <a:gd name="connsiteX1149" fmla="*/ 30506 w 51323"/>
                <a:gd name="connsiteY1149" fmla="*/ 23910 h 51323"/>
                <a:gd name="connsiteX1150" fmla="*/ 31622 w 51323"/>
                <a:gd name="connsiteY1150" fmla="*/ 24236 h 51323"/>
                <a:gd name="connsiteX1151" fmla="*/ 34473 w 51323"/>
                <a:gd name="connsiteY1151" fmla="*/ 24236 h 51323"/>
                <a:gd name="connsiteX1152" fmla="*/ 36191 w 51323"/>
                <a:gd name="connsiteY1152" fmla="*/ 24700 h 51323"/>
                <a:gd name="connsiteX1153" fmla="*/ 37084 w 51323"/>
                <a:gd name="connsiteY1153" fmla="*/ 24494 h 51323"/>
                <a:gd name="connsiteX1154" fmla="*/ 37187 w 51323"/>
                <a:gd name="connsiteY1154" fmla="*/ 24494 h 51323"/>
                <a:gd name="connsiteX1155" fmla="*/ 37187 w 51323"/>
                <a:gd name="connsiteY1155" fmla="*/ 24494 h 51323"/>
                <a:gd name="connsiteX1156" fmla="*/ 37462 w 51323"/>
                <a:gd name="connsiteY1156" fmla="*/ 24494 h 51323"/>
                <a:gd name="connsiteX1157" fmla="*/ 37565 w 51323"/>
                <a:gd name="connsiteY1157" fmla="*/ 24665 h 51323"/>
                <a:gd name="connsiteX1158" fmla="*/ 37565 w 51323"/>
                <a:gd name="connsiteY1158" fmla="*/ 24494 h 51323"/>
                <a:gd name="connsiteX1159" fmla="*/ 38407 w 51323"/>
                <a:gd name="connsiteY1159" fmla="*/ 22381 h 51323"/>
                <a:gd name="connsiteX1160" fmla="*/ 37840 w 51323"/>
                <a:gd name="connsiteY1160" fmla="*/ 22656 h 51323"/>
                <a:gd name="connsiteX1161" fmla="*/ 36775 w 51323"/>
                <a:gd name="connsiteY1161" fmla="*/ 22656 h 51323"/>
                <a:gd name="connsiteX1162" fmla="*/ 36277 w 51323"/>
                <a:gd name="connsiteY1162" fmla="*/ 22536 h 51323"/>
                <a:gd name="connsiteX1163" fmla="*/ 36140 w 51323"/>
                <a:gd name="connsiteY1163" fmla="*/ 22536 h 51323"/>
                <a:gd name="connsiteX1164" fmla="*/ 35933 w 51323"/>
                <a:gd name="connsiteY1164" fmla="*/ 22536 h 51323"/>
                <a:gd name="connsiteX1165" fmla="*/ 35727 w 51323"/>
                <a:gd name="connsiteY1165" fmla="*/ 22536 h 51323"/>
                <a:gd name="connsiteX1166" fmla="*/ 35951 w 51323"/>
                <a:gd name="connsiteY1166" fmla="*/ 22398 h 51323"/>
                <a:gd name="connsiteX1167" fmla="*/ 35762 w 51323"/>
                <a:gd name="connsiteY1167" fmla="*/ 22398 h 51323"/>
                <a:gd name="connsiteX1168" fmla="*/ 35401 w 51323"/>
                <a:gd name="connsiteY1168" fmla="*/ 22020 h 51323"/>
                <a:gd name="connsiteX1169" fmla="*/ 35401 w 51323"/>
                <a:gd name="connsiteY1169" fmla="*/ 21831 h 51323"/>
                <a:gd name="connsiteX1170" fmla="*/ 35573 w 51323"/>
                <a:gd name="connsiteY1170" fmla="*/ 21831 h 51323"/>
                <a:gd name="connsiteX1171" fmla="*/ 35573 w 51323"/>
                <a:gd name="connsiteY1171" fmla="*/ 21831 h 51323"/>
                <a:gd name="connsiteX1172" fmla="*/ 35676 w 51323"/>
                <a:gd name="connsiteY1172" fmla="*/ 21694 h 51323"/>
                <a:gd name="connsiteX1173" fmla="*/ 35676 w 51323"/>
                <a:gd name="connsiteY1173" fmla="*/ 21488 h 51323"/>
                <a:gd name="connsiteX1174" fmla="*/ 35779 w 51323"/>
                <a:gd name="connsiteY1174" fmla="*/ 21179 h 51323"/>
                <a:gd name="connsiteX1175" fmla="*/ 36225 w 51323"/>
                <a:gd name="connsiteY1175" fmla="*/ 21179 h 51323"/>
                <a:gd name="connsiteX1176" fmla="*/ 36397 w 51323"/>
                <a:gd name="connsiteY1176" fmla="*/ 20990 h 51323"/>
                <a:gd name="connsiteX1177" fmla="*/ 36827 w 51323"/>
                <a:gd name="connsiteY1177" fmla="*/ 20784 h 51323"/>
                <a:gd name="connsiteX1178" fmla="*/ 37788 w 51323"/>
                <a:gd name="connsiteY1178" fmla="*/ 20371 h 51323"/>
                <a:gd name="connsiteX1179" fmla="*/ 38063 w 51323"/>
                <a:gd name="connsiteY1179" fmla="*/ 20371 h 51323"/>
                <a:gd name="connsiteX1180" fmla="*/ 38287 w 51323"/>
                <a:gd name="connsiteY1180" fmla="*/ 20526 h 51323"/>
                <a:gd name="connsiteX1181" fmla="*/ 37857 w 51323"/>
                <a:gd name="connsiteY1181" fmla="*/ 19049 h 51323"/>
                <a:gd name="connsiteX1182" fmla="*/ 37857 w 51323"/>
                <a:gd name="connsiteY1182" fmla="*/ 18911 h 51323"/>
                <a:gd name="connsiteX1183" fmla="*/ 37977 w 51323"/>
                <a:gd name="connsiteY1183" fmla="*/ 18791 h 51323"/>
                <a:gd name="connsiteX1184" fmla="*/ 37977 w 51323"/>
                <a:gd name="connsiteY1184" fmla="*/ 18551 h 51323"/>
                <a:gd name="connsiteX1185" fmla="*/ 37857 w 51323"/>
                <a:gd name="connsiteY1185" fmla="*/ 18448 h 51323"/>
                <a:gd name="connsiteX1186" fmla="*/ 38029 w 51323"/>
                <a:gd name="connsiteY1186" fmla="*/ 18448 h 51323"/>
                <a:gd name="connsiteX1187" fmla="*/ 38132 w 51323"/>
                <a:gd name="connsiteY1187" fmla="*/ 18224 h 51323"/>
                <a:gd name="connsiteX1188" fmla="*/ 37548 w 51323"/>
                <a:gd name="connsiteY1188" fmla="*/ 18499 h 51323"/>
                <a:gd name="connsiteX1189" fmla="*/ 37359 w 51323"/>
                <a:gd name="connsiteY1189" fmla="*/ 18499 h 51323"/>
                <a:gd name="connsiteX1190" fmla="*/ 37204 w 51323"/>
                <a:gd name="connsiteY1190" fmla="*/ 18499 h 51323"/>
                <a:gd name="connsiteX1191" fmla="*/ 37204 w 51323"/>
                <a:gd name="connsiteY1191" fmla="*/ 18705 h 51323"/>
                <a:gd name="connsiteX1192" fmla="*/ 37204 w 51323"/>
                <a:gd name="connsiteY1192" fmla="*/ 18568 h 51323"/>
                <a:gd name="connsiteX1193" fmla="*/ 36878 w 51323"/>
                <a:gd name="connsiteY1193" fmla="*/ 18791 h 51323"/>
                <a:gd name="connsiteX1194" fmla="*/ 37136 w 51323"/>
                <a:gd name="connsiteY1194" fmla="*/ 18946 h 51323"/>
                <a:gd name="connsiteX1195" fmla="*/ 37136 w 51323"/>
                <a:gd name="connsiteY1195" fmla="*/ 18946 h 51323"/>
                <a:gd name="connsiteX1196" fmla="*/ 37325 w 51323"/>
                <a:gd name="connsiteY1196" fmla="*/ 19049 h 51323"/>
                <a:gd name="connsiteX1197" fmla="*/ 37084 w 51323"/>
                <a:gd name="connsiteY1197" fmla="*/ 18705 h 51323"/>
                <a:gd name="connsiteX1198" fmla="*/ 37393 w 51323"/>
                <a:gd name="connsiteY1198" fmla="*/ 19014 h 51323"/>
                <a:gd name="connsiteX1199" fmla="*/ 37514 w 51323"/>
                <a:gd name="connsiteY1199" fmla="*/ 19014 h 51323"/>
                <a:gd name="connsiteX1200" fmla="*/ 37685 w 51323"/>
                <a:gd name="connsiteY1200" fmla="*/ 18929 h 51323"/>
                <a:gd name="connsiteX1201" fmla="*/ 37462 w 51323"/>
                <a:gd name="connsiteY1201" fmla="*/ 19100 h 51323"/>
                <a:gd name="connsiteX1202" fmla="*/ 36912 w 51323"/>
                <a:gd name="connsiteY1202" fmla="*/ 19100 h 51323"/>
                <a:gd name="connsiteX1203" fmla="*/ 36758 w 51323"/>
                <a:gd name="connsiteY1203" fmla="*/ 18860 h 51323"/>
                <a:gd name="connsiteX1204" fmla="*/ 36500 w 51323"/>
                <a:gd name="connsiteY1204" fmla="*/ 18740 h 51323"/>
                <a:gd name="connsiteX1205" fmla="*/ 36380 w 51323"/>
                <a:gd name="connsiteY1205" fmla="*/ 18619 h 51323"/>
                <a:gd name="connsiteX1206" fmla="*/ 36157 w 51323"/>
                <a:gd name="connsiteY1206" fmla="*/ 18619 h 51323"/>
                <a:gd name="connsiteX1207" fmla="*/ 36449 w 51323"/>
                <a:gd name="connsiteY1207" fmla="*/ 18619 h 51323"/>
                <a:gd name="connsiteX1208" fmla="*/ 36260 w 51323"/>
                <a:gd name="connsiteY1208" fmla="*/ 18619 h 51323"/>
                <a:gd name="connsiteX1209" fmla="*/ 36088 w 51323"/>
                <a:gd name="connsiteY1209" fmla="*/ 18740 h 51323"/>
                <a:gd name="connsiteX1210" fmla="*/ 35916 w 51323"/>
                <a:gd name="connsiteY1210" fmla="*/ 18946 h 51323"/>
                <a:gd name="connsiteX1211" fmla="*/ 35796 w 51323"/>
                <a:gd name="connsiteY1211" fmla="*/ 19083 h 51323"/>
                <a:gd name="connsiteX1212" fmla="*/ 35607 w 51323"/>
                <a:gd name="connsiteY1212" fmla="*/ 19598 h 51323"/>
                <a:gd name="connsiteX1213" fmla="*/ 35607 w 51323"/>
                <a:gd name="connsiteY1213" fmla="*/ 19993 h 51323"/>
                <a:gd name="connsiteX1214" fmla="*/ 35470 w 51323"/>
                <a:gd name="connsiteY1214" fmla="*/ 20251 h 51323"/>
                <a:gd name="connsiteX1215" fmla="*/ 35607 w 51323"/>
                <a:gd name="connsiteY1215" fmla="*/ 20698 h 51323"/>
                <a:gd name="connsiteX1216" fmla="*/ 35899 w 51323"/>
                <a:gd name="connsiteY1216" fmla="*/ 20990 h 51323"/>
                <a:gd name="connsiteX1217" fmla="*/ 35212 w 51323"/>
                <a:gd name="connsiteY1217" fmla="*/ 21333 h 51323"/>
                <a:gd name="connsiteX1218" fmla="*/ 35315 w 51323"/>
                <a:gd name="connsiteY1218" fmla="*/ 21144 h 51323"/>
                <a:gd name="connsiteX1219" fmla="*/ 34731 w 51323"/>
                <a:gd name="connsiteY1219" fmla="*/ 21144 h 51323"/>
                <a:gd name="connsiteX1220" fmla="*/ 34491 w 51323"/>
                <a:gd name="connsiteY1220" fmla="*/ 21230 h 51323"/>
                <a:gd name="connsiteX1221" fmla="*/ 34611 w 51323"/>
                <a:gd name="connsiteY1221" fmla="*/ 21385 h 51323"/>
                <a:gd name="connsiteX1222" fmla="*/ 34439 w 51323"/>
                <a:gd name="connsiteY1222" fmla="*/ 21385 h 51323"/>
                <a:gd name="connsiteX1223" fmla="*/ 34439 w 51323"/>
                <a:gd name="connsiteY1223" fmla="*/ 21471 h 51323"/>
                <a:gd name="connsiteX1224" fmla="*/ 34439 w 51323"/>
                <a:gd name="connsiteY1224" fmla="*/ 21471 h 51323"/>
                <a:gd name="connsiteX1225" fmla="*/ 34164 w 51323"/>
                <a:gd name="connsiteY1225" fmla="*/ 21282 h 51323"/>
                <a:gd name="connsiteX1226" fmla="*/ 34164 w 51323"/>
                <a:gd name="connsiteY1226" fmla="*/ 21522 h 51323"/>
                <a:gd name="connsiteX1227" fmla="*/ 34164 w 51323"/>
                <a:gd name="connsiteY1227" fmla="*/ 21728 h 51323"/>
                <a:gd name="connsiteX1228" fmla="*/ 34164 w 51323"/>
                <a:gd name="connsiteY1228" fmla="*/ 21728 h 51323"/>
                <a:gd name="connsiteX1229" fmla="*/ 34164 w 51323"/>
                <a:gd name="connsiteY1229" fmla="*/ 21831 h 51323"/>
                <a:gd name="connsiteX1230" fmla="*/ 34662 w 51323"/>
                <a:gd name="connsiteY1230" fmla="*/ 22295 h 51323"/>
                <a:gd name="connsiteX1231" fmla="*/ 34336 w 51323"/>
                <a:gd name="connsiteY1231" fmla="*/ 22295 h 51323"/>
                <a:gd name="connsiteX1232" fmla="*/ 34456 w 51323"/>
                <a:gd name="connsiteY1232" fmla="*/ 22467 h 51323"/>
                <a:gd name="connsiteX1233" fmla="*/ 34456 w 51323"/>
                <a:gd name="connsiteY1233" fmla="*/ 22467 h 51323"/>
                <a:gd name="connsiteX1234" fmla="*/ 34456 w 51323"/>
                <a:gd name="connsiteY1234" fmla="*/ 22776 h 51323"/>
                <a:gd name="connsiteX1235" fmla="*/ 34250 w 51323"/>
                <a:gd name="connsiteY1235" fmla="*/ 22776 h 51323"/>
                <a:gd name="connsiteX1236" fmla="*/ 34078 w 51323"/>
                <a:gd name="connsiteY1236" fmla="*/ 22518 h 51323"/>
                <a:gd name="connsiteX1237" fmla="*/ 34078 w 51323"/>
                <a:gd name="connsiteY1237" fmla="*/ 22656 h 51323"/>
                <a:gd name="connsiteX1238" fmla="*/ 33975 w 51323"/>
                <a:gd name="connsiteY1238" fmla="*/ 22398 h 51323"/>
                <a:gd name="connsiteX1239" fmla="*/ 33855 w 51323"/>
                <a:gd name="connsiteY1239" fmla="*/ 22089 h 51323"/>
                <a:gd name="connsiteX1240" fmla="*/ 34353 w 51323"/>
                <a:gd name="connsiteY1240" fmla="*/ 22089 h 51323"/>
                <a:gd name="connsiteX1241" fmla="*/ 33958 w 51323"/>
                <a:gd name="connsiteY1241" fmla="*/ 22089 h 51323"/>
                <a:gd name="connsiteX1242" fmla="*/ 33786 w 51323"/>
                <a:gd name="connsiteY1242" fmla="*/ 22089 h 51323"/>
                <a:gd name="connsiteX1243" fmla="*/ 33065 w 51323"/>
                <a:gd name="connsiteY1243" fmla="*/ 21316 h 51323"/>
                <a:gd name="connsiteX1244" fmla="*/ 33065 w 51323"/>
                <a:gd name="connsiteY1244" fmla="*/ 20732 h 51323"/>
                <a:gd name="connsiteX1245" fmla="*/ 32584 w 51323"/>
                <a:gd name="connsiteY1245" fmla="*/ 20320 h 51323"/>
                <a:gd name="connsiteX1246" fmla="*/ 32275 w 51323"/>
                <a:gd name="connsiteY1246" fmla="*/ 20320 h 51323"/>
                <a:gd name="connsiteX1247" fmla="*/ 32395 w 51323"/>
                <a:gd name="connsiteY1247" fmla="*/ 20320 h 51323"/>
                <a:gd name="connsiteX1248" fmla="*/ 31931 w 51323"/>
                <a:gd name="connsiteY1248" fmla="*/ 20131 h 51323"/>
                <a:gd name="connsiteX1249" fmla="*/ 31742 w 51323"/>
                <a:gd name="connsiteY1249" fmla="*/ 19856 h 51323"/>
                <a:gd name="connsiteX1250" fmla="*/ 31175 w 51323"/>
                <a:gd name="connsiteY1250" fmla="*/ 19633 h 51323"/>
                <a:gd name="connsiteX1251" fmla="*/ 31175 w 51323"/>
                <a:gd name="connsiteY1251" fmla="*/ 19306 h 51323"/>
                <a:gd name="connsiteX1252" fmla="*/ 30746 w 51323"/>
                <a:gd name="connsiteY1252" fmla="*/ 19427 h 51323"/>
                <a:gd name="connsiteX1253" fmla="*/ 31656 w 51323"/>
                <a:gd name="connsiteY1253" fmla="*/ 20681 h 51323"/>
                <a:gd name="connsiteX1254" fmla="*/ 31983 w 51323"/>
                <a:gd name="connsiteY1254" fmla="*/ 20887 h 51323"/>
                <a:gd name="connsiteX1255" fmla="*/ 32807 w 51323"/>
                <a:gd name="connsiteY1255" fmla="*/ 21539 h 51323"/>
                <a:gd name="connsiteX1256" fmla="*/ 32532 w 51323"/>
                <a:gd name="connsiteY1256" fmla="*/ 21333 h 51323"/>
                <a:gd name="connsiteX1257" fmla="*/ 32309 w 51323"/>
                <a:gd name="connsiteY1257" fmla="*/ 21625 h 51323"/>
                <a:gd name="connsiteX1258" fmla="*/ 32309 w 51323"/>
                <a:gd name="connsiteY1258" fmla="*/ 22141 h 51323"/>
                <a:gd name="connsiteX1259" fmla="*/ 32086 w 51323"/>
                <a:gd name="connsiteY1259" fmla="*/ 22141 h 51323"/>
                <a:gd name="connsiteX1260" fmla="*/ 31794 w 51323"/>
                <a:gd name="connsiteY1260" fmla="*/ 21402 h 51323"/>
                <a:gd name="connsiteX1261" fmla="*/ 31656 w 51323"/>
                <a:gd name="connsiteY1261" fmla="*/ 21230 h 51323"/>
                <a:gd name="connsiteX1262" fmla="*/ 31330 w 51323"/>
                <a:gd name="connsiteY1262" fmla="*/ 21024 h 51323"/>
                <a:gd name="connsiteX1263" fmla="*/ 29080 w 51323"/>
                <a:gd name="connsiteY1263" fmla="*/ 20217 h 51323"/>
                <a:gd name="connsiteX1264" fmla="*/ 28633 w 51323"/>
                <a:gd name="connsiteY1264" fmla="*/ 20114 h 51323"/>
                <a:gd name="connsiteX1265" fmla="*/ 27448 w 51323"/>
                <a:gd name="connsiteY1265" fmla="*/ 21093 h 51323"/>
                <a:gd name="connsiteX1266" fmla="*/ 27448 w 51323"/>
                <a:gd name="connsiteY1266" fmla="*/ 21213 h 51323"/>
                <a:gd name="connsiteX1267" fmla="*/ 27191 w 51323"/>
                <a:gd name="connsiteY1267" fmla="*/ 22003 h 51323"/>
                <a:gd name="connsiteX1268" fmla="*/ 26847 w 51323"/>
                <a:gd name="connsiteY1268" fmla="*/ 22398 h 51323"/>
                <a:gd name="connsiteX1269" fmla="*/ 25421 w 51323"/>
                <a:gd name="connsiteY1269" fmla="*/ 22896 h 51323"/>
                <a:gd name="connsiteX1270" fmla="*/ 24700 w 51323"/>
                <a:gd name="connsiteY1270" fmla="*/ 22501 h 51323"/>
                <a:gd name="connsiteX1271" fmla="*/ 24408 w 51323"/>
                <a:gd name="connsiteY1271" fmla="*/ 22501 h 51323"/>
                <a:gd name="connsiteX1272" fmla="*/ 24511 w 51323"/>
                <a:gd name="connsiteY1272" fmla="*/ 21934 h 51323"/>
                <a:gd name="connsiteX1273" fmla="*/ 24511 w 51323"/>
                <a:gd name="connsiteY1273" fmla="*/ 21763 h 51323"/>
                <a:gd name="connsiteX1274" fmla="*/ 24631 w 51323"/>
                <a:gd name="connsiteY1274" fmla="*/ 21144 h 51323"/>
                <a:gd name="connsiteX1275" fmla="*/ 24734 w 51323"/>
                <a:gd name="connsiteY1275" fmla="*/ 20457 h 51323"/>
                <a:gd name="connsiteX1276" fmla="*/ 24734 w 51323"/>
                <a:gd name="connsiteY1276" fmla="*/ 20457 h 51323"/>
                <a:gd name="connsiteX1277" fmla="*/ 24734 w 51323"/>
                <a:gd name="connsiteY1277" fmla="*/ 20337 h 51323"/>
                <a:gd name="connsiteX1278" fmla="*/ 24734 w 51323"/>
                <a:gd name="connsiteY1278" fmla="*/ 20234 h 51323"/>
                <a:gd name="connsiteX1279" fmla="*/ 25026 w 51323"/>
                <a:gd name="connsiteY1279" fmla="*/ 20045 h 51323"/>
                <a:gd name="connsiteX1280" fmla="*/ 25490 w 51323"/>
                <a:gd name="connsiteY1280" fmla="*/ 20045 h 51323"/>
                <a:gd name="connsiteX1281" fmla="*/ 26607 w 51323"/>
                <a:gd name="connsiteY1281" fmla="*/ 20131 h 51323"/>
                <a:gd name="connsiteX1282" fmla="*/ 27276 w 51323"/>
                <a:gd name="connsiteY1282" fmla="*/ 19564 h 51323"/>
                <a:gd name="connsiteX1283" fmla="*/ 27053 w 51323"/>
                <a:gd name="connsiteY1283" fmla="*/ 19289 h 51323"/>
                <a:gd name="connsiteX1284" fmla="*/ 26813 w 51323"/>
                <a:gd name="connsiteY1284" fmla="*/ 18860 h 51323"/>
                <a:gd name="connsiteX1285" fmla="*/ 26950 w 51323"/>
                <a:gd name="connsiteY1285" fmla="*/ 18722 h 51323"/>
                <a:gd name="connsiteX1286" fmla="*/ 26727 w 51323"/>
                <a:gd name="connsiteY1286" fmla="*/ 18551 h 51323"/>
                <a:gd name="connsiteX1287" fmla="*/ 26229 w 51323"/>
                <a:gd name="connsiteY1287" fmla="*/ 18465 h 51323"/>
                <a:gd name="connsiteX1288" fmla="*/ 26229 w 51323"/>
                <a:gd name="connsiteY1288" fmla="*/ 18345 h 51323"/>
                <a:gd name="connsiteX1289" fmla="*/ 26229 w 51323"/>
                <a:gd name="connsiteY1289" fmla="*/ 18345 h 51323"/>
                <a:gd name="connsiteX1290" fmla="*/ 26229 w 51323"/>
                <a:gd name="connsiteY1290" fmla="*/ 18345 h 51323"/>
                <a:gd name="connsiteX1291" fmla="*/ 26555 w 51323"/>
                <a:gd name="connsiteY1291" fmla="*/ 18121 h 51323"/>
                <a:gd name="connsiteX1292" fmla="*/ 27019 w 51323"/>
                <a:gd name="connsiteY1292" fmla="*/ 18241 h 51323"/>
                <a:gd name="connsiteX1293" fmla="*/ 26899 w 51323"/>
                <a:gd name="connsiteY1293" fmla="*/ 17812 h 51323"/>
                <a:gd name="connsiteX1294" fmla="*/ 27105 w 51323"/>
                <a:gd name="connsiteY1294" fmla="*/ 17812 h 51323"/>
                <a:gd name="connsiteX1295" fmla="*/ 27500 w 51323"/>
                <a:gd name="connsiteY1295" fmla="*/ 17812 h 51323"/>
                <a:gd name="connsiteX1296" fmla="*/ 27775 w 51323"/>
                <a:gd name="connsiteY1296" fmla="*/ 17606 h 51323"/>
                <a:gd name="connsiteX1297" fmla="*/ 27895 w 51323"/>
                <a:gd name="connsiteY1297" fmla="*/ 17280 h 51323"/>
                <a:gd name="connsiteX1298" fmla="*/ 28444 w 51323"/>
                <a:gd name="connsiteY1298" fmla="*/ 17125 h 51323"/>
                <a:gd name="connsiteX1299" fmla="*/ 28444 w 51323"/>
                <a:gd name="connsiteY1299" fmla="*/ 17125 h 51323"/>
                <a:gd name="connsiteX1300" fmla="*/ 28547 w 51323"/>
                <a:gd name="connsiteY1300" fmla="*/ 17022 h 51323"/>
                <a:gd name="connsiteX1301" fmla="*/ 29286 w 51323"/>
                <a:gd name="connsiteY1301" fmla="*/ 16438 h 51323"/>
                <a:gd name="connsiteX1302" fmla="*/ 29458 w 51323"/>
                <a:gd name="connsiteY1302" fmla="*/ 16438 h 51323"/>
                <a:gd name="connsiteX1303" fmla="*/ 29595 w 51323"/>
                <a:gd name="connsiteY1303" fmla="*/ 16438 h 51323"/>
                <a:gd name="connsiteX1304" fmla="*/ 29956 w 51323"/>
                <a:gd name="connsiteY1304" fmla="*/ 16301 h 51323"/>
                <a:gd name="connsiteX1305" fmla="*/ 29389 w 51323"/>
                <a:gd name="connsiteY1305" fmla="*/ 15115 h 51323"/>
                <a:gd name="connsiteX1306" fmla="*/ 29664 w 51323"/>
                <a:gd name="connsiteY1306" fmla="*/ 15115 h 51323"/>
                <a:gd name="connsiteX1307" fmla="*/ 30025 w 51323"/>
                <a:gd name="connsiteY1307" fmla="*/ 15115 h 51323"/>
                <a:gd name="connsiteX1308" fmla="*/ 29922 w 51323"/>
                <a:gd name="connsiteY1308" fmla="*/ 16009 h 51323"/>
                <a:gd name="connsiteX1309" fmla="*/ 30059 w 51323"/>
                <a:gd name="connsiteY1309" fmla="*/ 16094 h 51323"/>
                <a:gd name="connsiteX1310" fmla="*/ 30883 w 51323"/>
                <a:gd name="connsiteY1310" fmla="*/ 16094 h 51323"/>
                <a:gd name="connsiteX1311" fmla="*/ 32103 w 51323"/>
                <a:gd name="connsiteY1311" fmla="*/ 15768 h 51323"/>
                <a:gd name="connsiteX1312" fmla="*/ 32326 w 51323"/>
                <a:gd name="connsiteY1312" fmla="*/ 15768 h 51323"/>
                <a:gd name="connsiteX1313" fmla="*/ 32189 w 51323"/>
                <a:gd name="connsiteY1313" fmla="*/ 15905 h 51323"/>
                <a:gd name="connsiteX1314" fmla="*/ 32704 w 51323"/>
                <a:gd name="connsiteY1314" fmla="*/ 14497 h 51323"/>
                <a:gd name="connsiteX1315" fmla="*/ 33031 w 51323"/>
                <a:gd name="connsiteY1315" fmla="*/ 14222 h 51323"/>
                <a:gd name="connsiteX1316" fmla="*/ 32842 w 51323"/>
                <a:gd name="connsiteY1316" fmla="*/ 14068 h 51323"/>
                <a:gd name="connsiteX1317" fmla="*/ 32842 w 51323"/>
                <a:gd name="connsiteY1317" fmla="*/ 13690 h 51323"/>
                <a:gd name="connsiteX1318" fmla="*/ 32979 w 51323"/>
                <a:gd name="connsiteY1318" fmla="*/ 13690 h 51323"/>
                <a:gd name="connsiteX1319" fmla="*/ 33615 w 51323"/>
                <a:gd name="connsiteY1319" fmla="*/ 13793 h 51323"/>
                <a:gd name="connsiteX1320" fmla="*/ 33752 w 51323"/>
                <a:gd name="connsiteY1320" fmla="*/ 13466 h 51323"/>
                <a:gd name="connsiteX1321" fmla="*/ 33546 w 51323"/>
                <a:gd name="connsiteY1321" fmla="*/ 13192 h 51323"/>
                <a:gd name="connsiteX1322" fmla="*/ 33408 w 51323"/>
                <a:gd name="connsiteY1322" fmla="*/ 13192 h 51323"/>
                <a:gd name="connsiteX1323" fmla="*/ 33031 w 51323"/>
                <a:gd name="connsiteY1323" fmla="*/ 13312 h 51323"/>
                <a:gd name="connsiteX1324" fmla="*/ 33031 w 51323"/>
                <a:gd name="connsiteY1324" fmla="*/ 13312 h 51323"/>
                <a:gd name="connsiteX1325" fmla="*/ 33031 w 51323"/>
                <a:gd name="connsiteY1325" fmla="*/ 13312 h 51323"/>
                <a:gd name="connsiteX1326" fmla="*/ 32567 w 51323"/>
                <a:gd name="connsiteY1326" fmla="*/ 13621 h 51323"/>
                <a:gd name="connsiteX1327" fmla="*/ 32172 w 51323"/>
                <a:gd name="connsiteY1327" fmla="*/ 13260 h 51323"/>
                <a:gd name="connsiteX1328" fmla="*/ 31914 w 51323"/>
                <a:gd name="connsiteY1328" fmla="*/ 12058 h 51323"/>
                <a:gd name="connsiteX1329" fmla="*/ 32017 w 51323"/>
                <a:gd name="connsiteY1329" fmla="*/ 12058 h 51323"/>
                <a:gd name="connsiteX1330" fmla="*/ 32017 w 51323"/>
                <a:gd name="connsiteY1330" fmla="*/ 11817 h 51323"/>
                <a:gd name="connsiteX1331" fmla="*/ 32309 w 51323"/>
                <a:gd name="connsiteY1331" fmla="*/ 11457 h 51323"/>
                <a:gd name="connsiteX1332" fmla="*/ 31502 w 51323"/>
                <a:gd name="connsiteY1332" fmla="*/ 11182 h 51323"/>
                <a:gd name="connsiteX1333" fmla="*/ 31656 w 51323"/>
                <a:gd name="connsiteY1333" fmla="*/ 11714 h 51323"/>
                <a:gd name="connsiteX1334" fmla="*/ 31038 w 51323"/>
                <a:gd name="connsiteY1334" fmla="*/ 12590 h 51323"/>
                <a:gd name="connsiteX1335" fmla="*/ 31175 w 51323"/>
                <a:gd name="connsiteY1335" fmla="*/ 12968 h 51323"/>
                <a:gd name="connsiteX1336" fmla="*/ 31382 w 51323"/>
                <a:gd name="connsiteY1336" fmla="*/ 13793 h 51323"/>
                <a:gd name="connsiteX1337" fmla="*/ 31210 w 51323"/>
                <a:gd name="connsiteY1337" fmla="*/ 13913 h 51323"/>
                <a:gd name="connsiteX1338" fmla="*/ 31485 w 51323"/>
                <a:gd name="connsiteY1338" fmla="*/ 14050 h 51323"/>
                <a:gd name="connsiteX1339" fmla="*/ 31364 w 51323"/>
                <a:gd name="connsiteY1339" fmla="*/ 14188 h 51323"/>
                <a:gd name="connsiteX1340" fmla="*/ 31364 w 51323"/>
                <a:gd name="connsiteY1340" fmla="*/ 14342 h 51323"/>
                <a:gd name="connsiteX1341" fmla="*/ 31364 w 51323"/>
                <a:gd name="connsiteY1341" fmla="*/ 14514 h 51323"/>
                <a:gd name="connsiteX1342" fmla="*/ 31090 w 51323"/>
                <a:gd name="connsiteY1342" fmla="*/ 15236 h 51323"/>
                <a:gd name="connsiteX1343" fmla="*/ 30162 w 51323"/>
                <a:gd name="connsiteY1343" fmla="*/ 14050 h 51323"/>
                <a:gd name="connsiteX1344" fmla="*/ 29939 w 51323"/>
                <a:gd name="connsiteY1344" fmla="*/ 13810 h 51323"/>
                <a:gd name="connsiteX1345" fmla="*/ 29939 w 51323"/>
                <a:gd name="connsiteY1345" fmla="*/ 14102 h 51323"/>
                <a:gd name="connsiteX1346" fmla="*/ 29733 w 51323"/>
                <a:gd name="connsiteY1346" fmla="*/ 13965 h 51323"/>
                <a:gd name="connsiteX1347" fmla="*/ 29595 w 51323"/>
                <a:gd name="connsiteY1347" fmla="*/ 14291 h 51323"/>
                <a:gd name="connsiteX1348" fmla="*/ 29183 w 51323"/>
                <a:gd name="connsiteY1348" fmla="*/ 14428 h 51323"/>
                <a:gd name="connsiteX1349" fmla="*/ 29183 w 51323"/>
                <a:gd name="connsiteY1349" fmla="*/ 14102 h 51323"/>
                <a:gd name="connsiteX1350" fmla="*/ 29011 w 51323"/>
                <a:gd name="connsiteY1350" fmla="*/ 13879 h 51323"/>
                <a:gd name="connsiteX1351" fmla="*/ 29011 w 51323"/>
                <a:gd name="connsiteY1351" fmla="*/ 13879 h 51323"/>
                <a:gd name="connsiteX1352" fmla="*/ 29166 w 51323"/>
                <a:gd name="connsiteY1352" fmla="*/ 13776 h 51323"/>
                <a:gd name="connsiteX1353" fmla="*/ 29166 w 51323"/>
                <a:gd name="connsiteY1353" fmla="*/ 13655 h 51323"/>
                <a:gd name="connsiteX1354" fmla="*/ 29164 w 51323"/>
                <a:gd name="connsiteY1354" fmla="*/ 13485 h 51323"/>
                <a:gd name="connsiteX1355" fmla="*/ 29166 w 51323"/>
                <a:gd name="connsiteY1355" fmla="*/ 13484 h 51323"/>
                <a:gd name="connsiteX1356" fmla="*/ 28943 w 51323"/>
                <a:gd name="connsiteY1356" fmla="*/ 13484 h 51323"/>
                <a:gd name="connsiteX1357" fmla="*/ 28943 w 51323"/>
                <a:gd name="connsiteY1357" fmla="*/ 13381 h 51323"/>
                <a:gd name="connsiteX1358" fmla="*/ 29355 w 51323"/>
                <a:gd name="connsiteY1358" fmla="*/ 13157 h 51323"/>
                <a:gd name="connsiteX1359" fmla="*/ 28994 w 51323"/>
                <a:gd name="connsiteY1359" fmla="*/ 13157 h 51323"/>
                <a:gd name="connsiteX1360" fmla="*/ 29183 w 51323"/>
                <a:gd name="connsiteY1360" fmla="*/ 13020 h 51323"/>
                <a:gd name="connsiteX1361" fmla="*/ 29046 w 51323"/>
                <a:gd name="connsiteY1361" fmla="*/ 12917 h 51323"/>
                <a:gd name="connsiteX1362" fmla="*/ 29183 w 51323"/>
                <a:gd name="connsiteY1362" fmla="*/ 12917 h 51323"/>
                <a:gd name="connsiteX1363" fmla="*/ 29183 w 51323"/>
                <a:gd name="connsiteY1363" fmla="*/ 12797 h 51323"/>
                <a:gd name="connsiteX1364" fmla="*/ 29441 w 51323"/>
                <a:gd name="connsiteY1364" fmla="*/ 12797 h 51323"/>
                <a:gd name="connsiteX1365" fmla="*/ 29578 w 51323"/>
                <a:gd name="connsiteY1365" fmla="*/ 12797 h 51323"/>
                <a:gd name="connsiteX1366" fmla="*/ 29578 w 51323"/>
                <a:gd name="connsiteY1366" fmla="*/ 12676 h 51323"/>
                <a:gd name="connsiteX1367" fmla="*/ 29767 w 51323"/>
                <a:gd name="connsiteY1367" fmla="*/ 12676 h 51323"/>
                <a:gd name="connsiteX1368" fmla="*/ 30059 w 51323"/>
                <a:gd name="connsiteY1368" fmla="*/ 12298 h 51323"/>
                <a:gd name="connsiteX1369" fmla="*/ 29801 w 51323"/>
                <a:gd name="connsiteY1369" fmla="*/ 12419 h 51323"/>
                <a:gd name="connsiteX1370" fmla="*/ 29801 w 51323"/>
                <a:gd name="connsiteY1370" fmla="*/ 12195 h 51323"/>
                <a:gd name="connsiteX1371" fmla="*/ 30145 w 51323"/>
                <a:gd name="connsiteY1371" fmla="*/ 11766 h 51323"/>
                <a:gd name="connsiteX1372" fmla="*/ 30145 w 51323"/>
                <a:gd name="connsiteY1372" fmla="*/ 11611 h 51323"/>
                <a:gd name="connsiteX1373" fmla="*/ 30145 w 51323"/>
                <a:gd name="connsiteY1373" fmla="*/ 11525 h 51323"/>
                <a:gd name="connsiteX1374" fmla="*/ 30145 w 51323"/>
                <a:gd name="connsiteY1374" fmla="*/ 11337 h 51323"/>
                <a:gd name="connsiteX1375" fmla="*/ 30025 w 51323"/>
                <a:gd name="connsiteY1375" fmla="*/ 11148 h 51323"/>
                <a:gd name="connsiteX1376" fmla="*/ 30334 w 51323"/>
                <a:gd name="connsiteY1376" fmla="*/ 10976 h 51323"/>
                <a:gd name="connsiteX1377" fmla="*/ 30334 w 51323"/>
                <a:gd name="connsiteY1377" fmla="*/ 10838 h 51323"/>
                <a:gd name="connsiteX1378" fmla="*/ 30334 w 51323"/>
                <a:gd name="connsiteY1378" fmla="*/ 10684 h 51323"/>
                <a:gd name="connsiteX1379" fmla="*/ 30334 w 51323"/>
                <a:gd name="connsiteY1379" fmla="*/ 10478 h 51323"/>
                <a:gd name="connsiteX1380" fmla="*/ 30506 w 51323"/>
                <a:gd name="connsiteY1380" fmla="*/ 10478 h 51323"/>
                <a:gd name="connsiteX1381" fmla="*/ 30506 w 51323"/>
                <a:gd name="connsiteY1381" fmla="*/ 10323 h 51323"/>
                <a:gd name="connsiteX1382" fmla="*/ 30506 w 51323"/>
                <a:gd name="connsiteY1382" fmla="*/ 10220 h 51323"/>
                <a:gd name="connsiteX1383" fmla="*/ 30609 w 51323"/>
                <a:gd name="connsiteY1383" fmla="*/ 10117 h 51323"/>
                <a:gd name="connsiteX1384" fmla="*/ 30609 w 51323"/>
                <a:gd name="connsiteY1384" fmla="*/ 10117 h 51323"/>
                <a:gd name="connsiteX1385" fmla="*/ 30609 w 51323"/>
                <a:gd name="connsiteY1385" fmla="*/ 10117 h 51323"/>
                <a:gd name="connsiteX1386" fmla="*/ 30609 w 51323"/>
                <a:gd name="connsiteY1386" fmla="*/ 10117 h 51323"/>
                <a:gd name="connsiteX1387" fmla="*/ 30798 w 51323"/>
                <a:gd name="connsiteY1387" fmla="*/ 10117 h 51323"/>
                <a:gd name="connsiteX1388" fmla="*/ 30798 w 51323"/>
                <a:gd name="connsiteY1388" fmla="*/ 9739 h 51323"/>
                <a:gd name="connsiteX1389" fmla="*/ 31124 w 51323"/>
                <a:gd name="connsiteY1389" fmla="*/ 9894 h 51323"/>
                <a:gd name="connsiteX1390" fmla="*/ 31124 w 51323"/>
                <a:gd name="connsiteY1390" fmla="*/ 9619 h 51323"/>
                <a:gd name="connsiteX1391" fmla="*/ 31124 w 51323"/>
                <a:gd name="connsiteY1391" fmla="*/ 9619 h 51323"/>
                <a:gd name="connsiteX1392" fmla="*/ 31124 w 51323"/>
                <a:gd name="connsiteY1392" fmla="*/ 9619 h 51323"/>
                <a:gd name="connsiteX1393" fmla="*/ 31261 w 51323"/>
                <a:gd name="connsiteY1393" fmla="*/ 9619 h 51323"/>
                <a:gd name="connsiteX1394" fmla="*/ 31450 w 51323"/>
                <a:gd name="connsiteY1394" fmla="*/ 9499 h 51323"/>
                <a:gd name="connsiteX1395" fmla="*/ 31553 w 51323"/>
                <a:gd name="connsiteY1395" fmla="*/ 9842 h 51323"/>
                <a:gd name="connsiteX1396" fmla="*/ 31674 w 51323"/>
                <a:gd name="connsiteY1396" fmla="*/ 9842 h 51323"/>
                <a:gd name="connsiteX1397" fmla="*/ 31845 w 51323"/>
                <a:gd name="connsiteY1397" fmla="*/ 9842 h 51323"/>
                <a:gd name="connsiteX1398" fmla="*/ 31742 w 51323"/>
                <a:gd name="connsiteY1398" fmla="*/ 10031 h 51323"/>
                <a:gd name="connsiteX1399" fmla="*/ 32000 w 51323"/>
                <a:gd name="connsiteY1399" fmla="*/ 10220 h 51323"/>
                <a:gd name="connsiteX1400" fmla="*/ 32275 w 51323"/>
                <a:gd name="connsiteY1400" fmla="*/ 10220 h 51323"/>
                <a:gd name="connsiteX1401" fmla="*/ 32275 w 51323"/>
                <a:gd name="connsiteY1401" fmla="*/ 10048 h 51323"/>
                <a:gd name="connsiteX1402" fmla="*/ 32378 w 51323"/>
                <a:gd name="connsiteY1402" fmla="*/ 10048 h 51323"/>
                <a:gd name="connsiteX1403" fmla="*/ 32584 w 51323"/>
                <a:gd name="connsiteY1403" fmla="*/ 10220 h 51323"/>
                <a:gd name="connsiteX1404" fmla="*/ 33683 w 51323"/>
                <a:gd name="connsiteY1404" fmla="*/ 10529 h 51323"/>
                <a:gd name="connsiteX1405" fmla="*/ 33804 w 51323"/>
                <a:gd name="connsiteY1405" fmla="*/ 10529 h 51323"/>
                <a:gd name="connsiteX1406" fmla="*/ 33597 w 51323"/>
                <a:gd name="connsiteY1406" fmla="*/ 11354 h 51323"/>
                <a:gd name="connsiteX1407" fmla="*/ 33426 w 51323"/>
                <a:gd name="connsiteY1407" fmla="*/ 11354 h 51323"/>
                <a:gd name="connsiteX1408" fmla="*/ 33065 w 51323"/>
                <a:gd name="connsiteY1408" fmla="*/ 11354 h 51323"/>
                <a:gd name="connsiteX1409" fmla="*/ 33357 w 51323"/>
                <a:gd name="connsiteY1409" fmla="*/ 11663 h 51323"/>
                <a:gd name="connsiteX1410" fmla="*/ 34576 w 51323"/>
                <a:gd name="connsiteY1410" fmla="*/ 12333 h 51323"/>
                <a:gd name="connsiteX1411" fmla="*/ 34250 w 51323"/>
                <a:gd name="connsiteY1411" fmla="*/ 12006 h 51323"/>
                <a:gd name="connsiteX1412" fmla="*/ 34972 w 51323"/>
                <a:gd name="connsiteY1412" fmla="*/ 11474 h 51323"/>
                <a:gd name="connsiteX1413" fmla="*/ 35143 w 51323"/>
                <a:gd name="connsiteY1413" fmla="*/ 11474 h 51323"/>
                <a:gd name="connsiteX1414" fmla="*/ 34181 w 51323"/>
                <a:gd name="connsiteY1414" fmla="*/ 10340 h 51323"/>
                <a:gd name="connsiteX1415" fmla="*/ 34800 w 51323"/>
                <a:gd name="connsiteY1415" fmla="*/ 10753 h 51323"/>
                <a:gd name="connsiteX1416" fmla="*/ 35143 w 51323"/>
                <a:gd name="connsiteY1416" fmla="*/ 10529 h 51323"/>
                <a:gd name="connsiteX1417" fmla="*/ 35401 w 51323"/>
                <a:gd name="connsiteY1417" fmla="*/ 10289 h 51323"/>
                <a:gd name="connsiteX1418" fmla="*/ 35401 w 51323"/>
                <a:gd name="connsiteY1418" fmla="*/ 10151 h 51323"/>
                <a:gd name="connsiteX1419" fmla="*/ 35727 w 51323"/>
                <a:gd name="connsiteY1419" fmla="*/ 10306 h 51323"/>
                <a:gd name="connsiteX1420" fmla="*/ 35727 w 51323"/>
                <a:gd name="connsiteY1420" fmla="*/ 10306 h 51323"/>
                <a:gd name="connsiteX1421" fmla="*/ 35830 w 51323"/>
                <a:gd name="connsiteY1421" fmla="*/ 9842 h 51323"/>
                <a:gd name="connsiteX1422" fmla="*/ 36019 w 51323"/>
                <a:gd name="connsiteY1422" fmla="*/ 9945 h 51323"/>
                <a:gd name="connsiteX1423" fmla="*/ 36122 w 51323"/>
                <a:gd name="connsiteY1423" fmla="*/ 9945 h 51323"/>
                <a:gd name="connsiteX1424" fmla="*/ 35848 w 51323"/>
                <a:gd name="connsiteY1424" fmla="*/ 9773 h 51323"/>
                <a:gd name="connsiteX1425" fmla="*/ 35848 w 51323"/>
                <a:gd name="connsiteY1425" fmla="*/ 9773 h 51323"/>
                <a:gd name="connsiteX1426" fmla="*/ 36981 w 51323"/>
                <a:gd name="connsiteY1426" fmla="*/ 9894 h 51323"/>
                <a:gd name="connsiteX1427" fmla="*/ 36260 w 51323"/>
                <a:gd name="connsiteY1427" fmla="*/ 9361 h 51323"/>
                <a:gd name="connsiteX1428" fmla="*/ 36260 w 51323"/>
                <a:gd name="connsiteY1428" fmla="*/ 9361 h 51323"/>
                <a:gd name="connsiteX1429" fmla="*/ 36140 w 51323"/>
                <a:gd name="connsiteY1429" fmla="*/ 9361 h 51323"/>
                <a:gd name="connsiteX1430" fmla="*/ 36140 w 51323"/>
                <a:gd name="connsiteY1430" fmla="*/ 9361 h 51323"/>
                <a:gd name="connsiteX1431" fmla="*/ 35882 w 51323"/>
                <a:gd name="connsiteY1431" fmla="*/ 9155 h 51323"/>
                <a:gd name="connsiteX1432" fmla="*/ 35727 w 51323"/>
                <a:gd name="connsiteY1432" fmla="*/ 8983 h 51323"/>
                <a:gd name="connsiteX1433" fmla="*/ 34594 w 51323"/>
                <a:gd name="connsiteY1433" fmla="*/ 7884 h 51323"/>
                <a:gd name="connsiteX1434" fmla="*/ 37136 w 51323"/>
                <a:gd name="connsiteY1434" fmla="*/ 9602 h 51323"/>
                <a:gd name="connsiteX1435" fmla="*/ 37136 w 51323"/>
                <a:gd name="connsiteY1435" fmla="*/ 9602 h 51323"/>
                <a:gd name="connsiteX1436" fmla="*/ 37806 w 51323"/>
                <a:gd name="connsiteY1436" fmla="*/ 10289 h 51323"/>
                <a:gd name="connsiteX1437" fmla="*/ 37806 w 51323"/>
                <a:gd name="connsiteY1437" fmla="*/ 10289 h 51323"/>
                <a:gd name="connsiteX1438" fmla="*/ 37806 w 51323"/>
                <a:gd name="connsiteY1438" fmla="*/ 10289 h 51323"/>
                <a:gd name="connsiteX1439" fmla="*/ 37703 w 51323"/>
                <a:gd name="connsiteY1439" fmla="*/ 10426 h 51323"/>
                <a:gd name="connsiteX1440" fmla="*/ 37101 w 51323"/>
                <a:gd name="connsiteY1440" fmla="*/ 9275 h 51323"/>
                <a:gd name="connsiteX1441" fmla="*/ 37101 w 51323"/>
                <a:gd name="connsiteY1441" fmla="*/ 9275 h 51323"/>
                <a:gd name="connsiteX1442" fmla="*/ 34851 w 51323"/>
                <a:gd name="connsiteY1442" fmla="*/ 7850 h 51323"/>
                <a:gd name="connsiteX1443" fmla="*/ 35933 w 51323"/>
                <a:gd name="connsiteY1443" fmla="*/ 8451 h 51323"/>
                <a:gd name="connsiteX1444" fmla="*/ 36105 w 51323"/>
                <a:gd name="connsiteY1444" fmla="*/ 8451 h 51323"/>
                <a:gd name="connsiteX1445" fmla="*/ 35367 w 51323"/>
                <a:gd name="connsiteY1445" fmla="*/ 8125 h 51323"/>
                <a:gd name="connsiteX1446" fmla="*/ 35367 w 51323"/>
                <a:gd name="connsiteY1446" fmla="*/ 8039 h 51323"/>
                <a:gd name="connsiteX1447" fmla="*/ 35367 w 51323"/>
                <a:gd name="connsiteY1447" fmla="*/ 8039 h 51323"/>
                <a:gd name="connsiteX1448" fmla="*/ 36363 w 51323"/>
                <a:gd name="connsiteY1448" fmla="*/ 8331 h 51323"/>
                <a:gd name="connsiteX1449" fmla="*/ 37256 w 51323"/>
                <a:gd name="connsiteY1449" fmla="*/ 8812 h 51323"/>
                <a:gd name="connsiteX1450" fmla="*/ 37428 w 51323"/>
                <a:gd name="connsiteY1450" fmla="*/ 8812 h 51323"/>
                <a:gd name="connsiteX1451" fmla="*/ 37101 w 51323"/>
                <a:gd name="connsiteY1451" fmla="*/ 8709 h 51323"/>
                <a:gd name="connsiteX1452" fmla="*/ 35384 w 51323"/>
                <a:gd name="connsiteY1452" fmla="*/ 7798 h 51323"/>
                <a:gd name="connsiteX1453" fmla="*/ 34525 w 51323"/>
                <a:gd name="connsiteY1453" fmla="*/ 7231 h 51323"/>
                <a:gd name="connsiteX1454" fmla="*/ 34851 w 51323"/>
                <a:gd name="connsiteY1454" fmla="*/ 7317 h 51323"/>
                <a:gd name="connsiteX1455" fmla="*/ 34267 w 51323"/>
                <a:gd name="connsiteY1455" fmla="*/ 7008 h 51323"/>
                <a:gd name="connsiteX1456" fmla="*/ 34027 w 51323"/>
                <a:gd name="connsiteY1456" fmla="*/ 6922 h 51323"/>
                <a:gd name="connsiteX1457" fmla="*/ 34027 w 51323"/>
                <a:gd name="connsiteY1457" fmla="*/ 6922 h 51323"/>
                <a:gd name="connsiteX1458" fmla="*/ 33872 w 51323"/>
                <a:gd name="connsiteY1458" fmla="*/ 6922 h 51323"/>
                <a:gd name="connsiteX1459" fmla="*/ 33872 w 51323"/>
                <a:gd name="connsiteY1459" fmla="*/ 6922 h 51323"/>
                <a:gd name="connsiteX1460" fmla="*/ 33615 w 51323"/>
                <a:gd name="connsiteY1460" fmla="*/ 6768 h 51323"/>
                <a:gd name="connsiteX1461" fmla="*/ 33615 w 51323"/>
                <a:gd name="connsiteY1461" fmla="*/ 6768 h 51323"/>
                <a:gd name="connsiteX1462" fmla="*/ 33168 w 51323"/>
                <a:gd name="connsiteY1462" fmla="*/ 6458 h 51323"/>
                <a:gd name="connsiteX1463" fmla="*/ 33168 w 51323"/>
                <a:gd name="connsiteY1463" fmla="*/ 6458 h 51323"/>
                <a:gd name="connsiteX1464" fmla="*/ 32910 w 51323"/>
                <a:gd name="connsiteY1464" fmla="*/ 6287 h 51323"/>
                <a:gd name="connsiteX1465" fmla="*/ 32910 w 51323"/>
                <a:gd name="connsiteY1465" fmla="*/ 6287 h 51323"/>
                <a:gd name="connsiteX1466" fmla="*/ 32910 w 51323"/>
                <a:gd name="connsiteY1466" fmla="*/ 6287 h 51323"/>
                <a:gd name="connsiteX1467" fmla="*/ 32910 w 51323"/>
                <a:gd name="connsiteY1467" fmla="*/ 6287 h 51323"/>
                <a:gd name="connsiteX1468" fmla="*/ 32687 w 51323"/>
                <a:gd name="connsiteY1468" fmla="*/ 6184 h 51323"/>
                <a:gd name="connsiteX1469" fmla="*/ 32687 w 51323"/>
                <a:gd name="connsiteY1469" fmla="*/ 6184 h 51323"/>
                <a:gd name="connsiteX1470" fmla="*/ 32687 w 51323"/>
                <a:gd name="connsiteY1470" fmla="*/ 6184 h 51323"/>
                <a:gd name="connsiteX1471" fmla="*/ 32687 w 51323"/>
                <a:gd name="connsiteY1471" fmla="*/ 6184 h 51323"/>
                <a:gd name="connsiteX1472" fmla="*/ 32687 w 51323"/>
                <a:gd name="connsiteY1472" fmla="*/ 6184 h 51323"/>
                <a:gd name="connsiteX1473" fmla="*/ 32962 w 51323"/>
                <a:gd name="connsiteY1473" fmla="*/ 6287 h 51323"/>
                <a:gd name="connsiteX1474" fmla="*/ 32739 w 51323"/>
                <a:gd name="connsiteY1474" fmla="*/ 6184 h 51323"/>
                <a:gd name="connsiteX1475" fmla="*/ 32893 w 51323"/>
                <a:gd name="connsiteY1475" fmla="*/ 6184 h 51323"/>
                <a:gd name="connsiteX1476" fmla="*/ 32807 w 51323"/>
                <a:gd name="connsiteY1476" fmla="*/ 6184 h 51323"/>
                <a:gd name="connsiteX1477" fmla="*/ 32670 w 51323"/>
                <a:gd name="connsiteY1477" fmla="*/ 6184 h 51323"/>
                <a:gd name="connsiteX1478" fmla="*/ 32670 w 51323"/>
                <a:gd name="connsiteY1478" fmla="*/ 6184 h 51323"/>
                <a:gd name="connsiteX1479" fmla="*/ 32532 w 51323"/>
                <a:gd name="connsiteY1479" fmla="*/ 6184 h 51323"/>
                <a:gd name="connsiteX1480" fmla="*/ 32876 w 51323"/>
                <a:gd name="connsiteY1480" fmla="*/ 6304 h 51323"/>
                <a:gd name="connsiteX1481" fmla="*/ 32481 w 51323"/>
                <a:gd name="connsiteY1481" fmla="*/ 6166 h 51323"/>
                <a:gd name="connsiteX1482" fmla="*/ 32481 w 51323"/>
                <a:gd name="connsiteY1482" fmla="*/ 6166 h 51323"/>
                <a:gd name="connsiteX1483" fmla="*/ 32343 w 51323"/>
                <a:gd name="connsiteY1483" fmla="*/ 6166 h 51323"/>
                <a:gd name="connsiteX1484" fmla="*/ 32343 w 51323"/>
                <a:gd name="connsiteY1484" fmla="*/ 6166 h 51323"/>
                <a:gd name="connsiteX1485" fmla="*/ 32343 w 51323"/>
                <a:gd name="connsiteY1485" fmla="*/ 6166 h 51323"/>
                <a:gd name="connsiteX1486" fmla="*/ 32206 w 51323"/>
                <a:gd name="connsiteY1486" fmla="*/ 6166 h 51323"/>
                <a:gd name="connsiteX1487" fmla="*/ 32206 w 51323"/>
                <a:gd name="connsiteY1487" fmla="*/ 6166 h 51323"/>
                <a:gd name="connsiteX1488" fmla="*/ 31742 w 51323"/>
                <a:gd name="connsiteY1488" fmla="*/ 6029 h 51323"/>
                <a:gd name="connsiteX1489" fmla="*/ 31742 w 51323"/>
                <a:gd name="connsiteY1489" fmla="*/ 6029 h 51323"/>
                <a:gd name="connsiteX1490" fmla="*/ 30952 w 51323"/>
                <a:gd name="connsiteY1490" fmla="*/ 5754 h 51323"/>
                <a:gd name="connsiteX1491" fmla="*/ 30952 w 51323"/>
                <a:gd name="connsiteY1491" fmla="*/ 5754 h 51323"/>
                <a:gd name="connsiteX1492" fmla="*/ 31055 w 51323"/>
                <a:gd name="connsiteY1492" fmla="*/ 5754 h 51323"/>
                <a:gd name="connsiteX1493" fmla="*/ 31055 w 51323"/>
                <a:gd name="connsiteY1493" fmla="*/ 5754 h 51323"/>
                <a:gd name="connsiteX1494" fmla="*/ 31605 w 51323"/>
                <a:gd name="connsiteY1494" fmla="*/ 5909 h 51323"/>
                <a:gd name="connsiteX1495" fmla="*/ 31416 w 51323"/>
                <a:gd name="connsiteY1495" fmla="*/ 5909 h 51323"/>
                <a:gd name="connsiteX1496" fmla="*/ 31588 w 51323"/>
                <a:gd name="connsiteY1496" fmla="*/ 5909 h 51323"/>
                <a:gd name="connsiteX1497" fmla="*/ 31485 w 51323"/>
                <a:gd name="connsiteY1497" fmla="*/ 5909 h 51323"/>
                <a:gd name="connsiteX1498" fmla="*/ 31485 w 51323"/>
                <a:gd name="connsiteY1498" fmla="*/ 5909 h 51323"/>
                <a:gd name="connsiteX1499" fmla="*/ 31485 w 51323"/>
                <a:gd name="connsiteY1499" fmla="*/ 5909 h 51323"/>
                <a:gd name="connsiteX1500" fmla="*/ 31811 w 51323"/>
                <a:gd name="connsiteY1500" fmla="*/ 5909 h 51323"/>
                <a:gd name="connsiteX1501" fmla="*/ 31811 w 51323"/>
                <a:gd name="connsiteY1501" fmla="*/ 5909 h 51323"/>
                <a:gd name="connsiteX1502" fmla="*/ 31708 w 51323"/>
                <a:gd name="connsiteY1502" fmla="*/ 5909 h 51323"/>
                <a:gd name="connsiteX1503" fmla="*/ 31708 w 51323"/>
                <a:gd name="connsiteY1503" fmla="*/ 5909 h 51323"/>
                <a:gd name="connsiteX1504" fmla="*/ 31708 w 51323"/>
                <a:gd name="connsiteY1504" fmla="*/ 5909 h 51323"/>
                <a:gd name="connsiteX1505" fmla="*/ 31708 w 51323"/>
                <a:gd name="connsiteY1505" fmla="*/ 5909 h 51323"/>
                <a:gd name="connsiteX1506" fmla="*/ 31708 w 51323"/>
                <a:gd name="connsiteY1506" fmla="*/ 5909 h 51323"/>
                <a:gd name="connsiteX1507" fmla="*/ 32292 w 51323"/>
                <a:gd name="connsiteY1507" fmla="*/ 6046 h 51323"/>
                <a:gd name="connsiteX1508" fmla="*/ 32051 w 51323"/>
                <a:gd name="connsiteY1508" fmla="*/ 6046 h 51323"/>
                <a:gd name="connsiteX1509" fmla="*/ 32378 w 51323"/>
                <a:gd name="connsiteY1509" fmla="*/ 6046 h 51323"/>
                <a:gd name="connsiteX1510" fmla="*/ 32635 w 51323"/>
                <a:gd name="connsiteY1510" fmla="*/ 6046 h 51323"/>
                <a:gd name="connsiteX1511" fmla="*/ 32635 w 51323"/>
                <a:gd name="connsiteY1511" fmla="*/ 6046 h 51323"/>
                <a:gd name="connsiteX1512" fmla="*/ 32773 w 51323"/>
                <a:gd name="connsiteY1512" fmla="*/ 6046 h 51323"/>
                <a:gd name="connsiteX1513" fmla="*/ 32773 w 51323"/>
                <a:gd name="connsiteY1513" fmla="*/ 6046 h 51323"/>
                <a:gd name="connsiteX1514" fmla="*/ 32773 w 51323"/>
                <a:gd name="connsiteY1514" fmla="*/ 6046 h 51323"/>
                <a:gd name="connsiteX1515" fmla="*/ 34010 w 51323"/>
                <a:gd name="connsiteY1515" fmla="*/ 6493 h 51323"/>
                <a:gd name="connsiteX1516" fmla="*/ 34010 w 51323"/>
                <a:gd name="connsiteY1516" fmla="*/ 6493 h 51323"/>
                <a:gd name="connsiteX1517" fmla="*/ 34645 w 51323"/>
                <a:gd name="connsiteY1517" fmla="*/ 6768 h 51323"/>
                <a:gd name="connsiteX1518" fmla="*/ 34645 w 51323"/>
                <a:gd name="connsiteY1518" fmla="*/ 6768 h 51323"/>
                <a:gd name="connsiteX1519" fmla="*/ 35470 w 51323"/>
                <a:gd name="connsiteY1519" fmla="*/ 7163 h 51323"/>
                <a:gd name="connsiteX1520" fmla="*/ 34662 w 51323"/>
                <a:gd name="connsiteY1520" fmla="*/ 6733 h 51323"/>
                <a:gd name="connsiteX1521" fmla="*/ 34662 w 51323"/>
                <a:gd name="connsiteY1521" fmla="*/ 6733 h 51323"/>
                <a:gd name="connsiteX1522" fmla="*/ 34353 w 51323"/>
                <a:gd name="connsiteY1522" fmla="*/ 6596 h 51323"/>
                <a:gd name="connsiteX1523" fmla="*/ 34491 w 51323"/>
                <a:gd name="connsiteY1523" fmla="*/ 6596 h 51323"/>
                <a:gd name="connsiteX1524" fmla="*/ 34250 w 51323"/>
                <a:gd name="connsiteY1524" fmla="*/ 6493 h 51323"/>
                <a:gd name="connsiteX1525" fmla="*/ 34113 w 51323"/>
                <a:gd name="connsiteY1525" fmla="*/ 6493 h 51323"/>
                <a:gd name="connsiteX1526" fmla="*/ 34422 w 51323"/>
                <a:gd name="connsiteY1526" fmla="*/ 6596 h 51323"/>
                <a:gd name="connsiteX1527" fmla="*/ 34113 w 51323"/>
                <a:gd name="connsiteY1527" fmla="*/ 6476 h 51323"/>
                <a:gd name="connsiteX1528" fmla="*/ 34628 w 51323"/>
                <a:gd name="connsiteY1528" fmla="*/ 6630 h 51323"/>
                <a:gd name="connsiteX1529" fmla="*/ 34473 w 51323"/>
                <a:gd name="connsiteY1529" fmla="*/ 6630 h 51323"/>
                <a:gd name="connsiteX1530" fmla="*/ 34473 w 51323"/>
                <a:gd name="connsiteY1530" fmla="*/ 6630 h 51323"/>
                <a:gd name="connsiteX1531" fmla="*/ 33700 w 51323"/>
                <a:gd name="connsiteY1531" fmla="*/ 4827 h 51323"/>
                <a:gd name="connsiteX1532" fmla="*/ 49314 w 51323"/>
                <a:gd name="connsiteY1532" fmla="*/ 25438 h 51323"/>
                <a:gd name="connsiteX1533" fmla="*/ 49177 w 51323"/>
                <a:gd name="connsiteY1533" fmla="*/ 26452 h 51323"/>
                <a:gd name="connsiteX1534" fmla="*/ 49159 w 51323"/>
                <a:gd name="connsiteY1534" fmla="*/ 26589 h 5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</a:cxnLst>
              <a:rect l="l" t="t" r="r" b="b"/>
              <a:pathLst>
                <a:path w="51323" h="51323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542FC21-4372-4846-8821-DE3D047D70A6}"/>
                </a:ext>
              </a:extLst>
            </p:cNvPr>
            <p:cNvSpPr/>
            <p:nvPr/>
          </p:nvSpPr>
          <p:spPr>
            <a:xfrm rot="16200000">
              <a:off x="12026199" y="6563439"/>
              <a:ext cx="13277" cy="68070"/>
            </a:xfrm>
            <a:custGeom>
              <a:avLst/>
              <a:gdLst>
                <a:gd name="connsiteX0" fmla="*/ 13277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7 w 13277"/>
                <a:gd name="connsiteY3" fmla="*/ 0 h 68070"/>
                <a:gd name="connsiteX4" fmla="*/ 0 w 13277"/>
                <a:gd name="connsiteY4" fmla="*/ 17984 h 68070"/>
                <a:gd name="connsiteX5" fmla="*/ 13277 w 13277"/>
                <a:gd name="connsiteY5" fmla="*/ 17984 h 68070"/>
                <a:gd name="connsiteX6" fmla="*/ 13277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B2790381-620A-48A1-9BBD-971FEBF891BA}"/>
                </a:ext>
              </a:extLst>
            </p:cNvPr>
            <p:cNvSpPr/>
            <p:nvPr/>
          </p:nvSpPr>
          <p:spPr>
            <a:xfrm rot="16200000">
              <a:off x="12018640" y="6529825"/>
              <a:ext cx="45208" cy="51256"/>
            </a:xfrm>
            <a:custGeom>
              <a:avLst/>
              <a:gdLst>
                <a:gd name="connsiteX0" fmla="*/ 40279 w 45208"/>
                <a:gd name="connsiteY0" fmla="*/ 4038 h 51256"/>
                <a:gd name="connsiteX1" fmla="*/ 45209 w 45208"/>
                <a:gd name="connsiteY1" fmla="*/ 17521 h 51256"/>
                <a:gd name="connsiteX2" fmla="*/ 45209 w 45208"/>
                <a:gd name="connsiteY2" fmla="*/ 51256 h 51256"/>
                <a:gd name="connsiteX3" fmla="*/ 31794 w 45208"/>
                <a:gd name="connsiteY3" fmla="*/ 51256 h 51256"/>
                <a:gd name="connsiteX4" fmla="*/ 31794 w 45208"/>
                <a:gd name="connsiteY4" fmla="*/ 20785 h 51256"/>
                <a:gd name="connsiteX5" fmla="*/ 30746 w 45208"/>
                <a:gd name="connsiteY5" fmla="*/ 14722 h 51256"/>
                <a:gd name="connsiteX6" fmla="*/ 23446 w 45208"/>
                <a:gd name="connsiteY6" fmla="*/ 10874 h 51256"/>
                <a:gd name="connsiteX7" fmla="*/ 14360 w 45208"/>
                <a:gd name="connsiteY7" fmla="*/ 16525 h 51256"/>
                <a:gd name="connsiteX8" fmla="*/ 13089 w 45208"/>
                <a:gd name="connsiteY8" fmla="*/ 24152 h 51256"/>
                <a:gd name="connsiteX9" fmla="*/ 13089 w 45208"/>
                <a:gd name="connsiteY9" fmla="*/ 51256 h 51256"/>
                <a:gd name="connsiteX10" fmla="*/ 0 w 45208"/>
                <a:gd name="connsiteY10" fmla="*/ 51256 h 51256"/>
                <a:gd name="connsiteX11" fmla="*/ 0 w 45208"/>
                <a:gd name="connsiteY11" fmla="*/ 1272 h 51256"/>
                <a:gd name="connsiteX12" fmla="*/ 12676 w 45208"/>
                <a:gd name="connsiteY12" fmla="*/ 1272 h 51256"/>
                <a:gd name="connsiteX13" fmla="*/ 12676 w 45208"/>
                <a:gd name="connsiteY13" fmla="*/ 8607 h 51256"/>
                <a:gd name="connsiteX14" fmla="*/ 17434 w 45208"/>
                <a:gd name="connsiteY14" fmla="*/ 3042 h 51256"/>
                <a:gd name="connsiteX15" fmla="*/ 27637 w 45208"/>
                <a:gd name="connsiteY15" fmla="*/ 19 h 51256"/>
                <a:gd name="connsiteX16" fmla="*/ 40279 w 45208"/>
                <a:gd name="connsiteY16" fmla="*/ 4038 h 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6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F201424-8A37-40B4-A244-37F08420BE37}"/>
                </a:ext>
              </a:extLst>
            </p:cNvPr>
            <p:cNvSpPr/>
            <p:nvPr/>
          </p:nvSpPr>
          <p:spPr>
            <a:xfrm rot="16200000">
              <a:off x="12018195" y="6477145"/>
              <a:ext cx="28942" cy="68414"/>
            </a:xfrm>
            <a:custGeom>
              <a:avLst/>
              <a:gdLst>
                <a:gd name="connsiteX0" fmla="*/ 25868 w 28942"/>
                <a:gd name="connsiteY0" fmla="*/ 0 h 68414"/>
                <a:gd name="connsiteX1" fmla="*/ 28616 w 28942"/>
                <a:gd name="connsiteY1" fmla="*/ 206 h 68414"/>
                <a:gd name="connsiteX2" fmla="*/ 28616 w 28942"/>
                <a:gd name="connsiteY2" fmla="*/ 10941 h 68414"/>
                <a:gd name="connsiteX3" fmla="*/ 24923 w 28942"/>
                <a:gd name="connsiteY3" fmla="*/ 10735 h 68414"/>
                <a:gd name="connsiteX4" fmla="*/ 21333 w 28942"/>
                <a:gd name="connsiteY4" fmla="*/ 11869 h 68414"/>
                <a:gd name="connsiteX5" fmla="*/ 20354 w 28942"/>
                <a:gd name="connsiteY5" fmla="*/ 14566 h 68414"/>
                <a:gd name="connsiteX6" fmla="*/ 20354 w 28942"/>
                <a:gd name="connsiteY6" fmla="*/ 18791 h 68414"/>
                <a:gd name="connsiteX7" fmla="*/ 28943 w 28942"/>
                <a:gd name="connsiteY7" fmla="*/ 18791 h 68414"/>
                <a:gd name="connsiteX8" fmla="*/ 28943 w 28942"/>
                <a:gd name="connsiteY8" fmla="*/ 28032 h 68414"/>
                <a:gd name="connsiteX9" fmla="*/ 20354 w 28942"/>
                <a:gd name="connsiteY9" fmla="*/ 28032 h 68414"/>
                <a:gd name="connsiteX10" fmla="*/ 20354 w 28942"/>
                <a:gd name="connsiteY10" fmla="*/ 68414 h 68414"/>
                <a:gd name="connsiteX11" fmla="*/ 7352 w 28942"/>
                <a:gd name="connsiteY11" fmla="*/ 68414 h 68414"/>
                <a:gd name="connsiteX12" fmla="*/ 7352 w 28942"/>
                <a:gd name="connsiteY12" fmla="*/ 28032 h 68414"/>
                <a:gd name="connsiteX13" fmla="*/ 0 w 28942"/>
                <a:gd name="connsiteY13" fmla="*/ 28032 h 68414"/>
                <a:gd name="connsiteX14" fmla="*/ 0 w 28942"/>
                <a:gd name="connsiteY14" fmla="*/ 18791 h 68414"/>
                <a:gd name="connsiteX15" fmla="*/ 7163 w 28942"/>
                <a:gd name="connsiteY15" fmla="*/ 18791 h 68414"/>
                <a:gd name="connsiteX16" fmla="*/ 7163 w 28942"/>
                <a:gd name="connsiteY16" fmla="*/ 15579 h 68414"/>
                <a:gd name="connsiteX17" fmla="*/ 9877 w 28942"/>
                <a:gd name="connsiteY17" fmla="*/ 4500 h 68414"/>
                <a:gd name="connsiteX18" fmla="*/ 23618 w 28942"/>
                <a:gd name="connsiteY18" fmla="*/ 0 h 68414"/>
                <a:gd name="connsiteX19" fmla="*/ 25868 w 28942"/>
                <a:gd name="connsiteY19" fmla="*/ 0 h 6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42" h="68414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AD05B71D-5BA4-433A-8101-90A75002DB3D}"/>
                </a:ext>
              </a:extLst>
            </p:cNvPr>
            <p:cNvSpPr/>
            <p:nvPr/>
          </p:nvSpPr>
          <p:spPr>
            <a:xfrm rot="16200000">
              <a:off x="12016830" y="6161182"/>
              <a:ext cx="49036" cy="51048"/>
            </a:xfrm>
            <a:custGeom>
              <a:avLst/>
              <a:gdLst>
                <a:gd name="connsiteX0" fmla="*/ 42949 w 49036"/>
                <a:gd name="connsiteY0" fmla="*/ 43542 h 51048"/>
                <a:gd name="connsiteX1" fmla="*/ 24519 w 49036"/>
                <a:gd name="connsiteY1" fmla="*/ 51049 h 51048"/>
                <a:gd name="connsiteX2" fmla="*/ 6071 w 49036"/>
                <a:gd name="connsiteY2" fmla="*/ 43542 h 51048"/>
                <a:gd name="connsiteX3" fmla="*/ 8 w 49036"/>
                <a:gd name="connsiteY3" fmla="*/ 25576 h 51048"/>
                <a:gd name="connsiteX4" fmla="*/ 6071 w 49036"/>
                <a:gd name="connsiteY4" fmla="*/ 7592 h 51048"/>
                <a:gd name="connsiteX5" fmla="*/ 24519 w 49036"/>
                <a:gd name="connsiteY5" fmla="*/ 0 h 51048"/>
                <a:gd name="connsiteX6" fmla="*/ 42949 w 49036"/>
                <a:gd name="connsiteY6" fmla="*/ 7592 h 51048"/>
                <a:gd name="connsiteX7" fmla="*/ 49030 w 49036"/>
                <a:gd name="connsiteY7" fmla="*/ 25576 h 51048"/>
                <a:gd name="connsiteX8" fmla="*/ 42949 w 49036"/>
                <a:gd name="connsiteY8" fmla="*/ 43542 h 51048"/>
                <a:gd name="connsiteX9" fmla="*/ 32918 w 49036"/>
                <a:gd name="connsiteY9" fmla="*/ 36672 h 51048"/>
                <a:gd name="connsiteX10" fmla="*/ 35872 w 49036"/>
                <a:gd name="connsiteY10" fmla="*/ 25576 h 51048"/>
                <a:gd name="connsiteX11" fmla="*/ 32918 w 49036"/>
                <a:gd name="connsiteY11" fmla="*/ 14480 h 51048"/>
                <a:gd name="connsiteX12" fmla="*/ 17172 w 49036"/>
                <a:gd name="connsiteY12" fmla="*/ 13307 h 51048"/>
                <a:gd name="connsiteX13" fmla="*/ 15999 w 49036"/>
                <a:gd name="connsiteY13" fmla="*/ 14480 h 51048"/>
                <a:gd name="connsiteX14" fmla="*/ 13027 w 49036"/>
                <a:gd name="connsiteY14" fmla="*/ 25576 h 51048"/>
                <a:gd name="connsiteX15" fmla="*/ 15999 w 49036"/>
                <a:gd name="connsiteY15" fmla="*/ 36706 h 51048"/>
                <a:gd name="connsiteX16" fmla="*/ 31692 w 49036"/>
                <a:gd name="connsiteY16" fmla="*/ 37932 h 51048"/>
                <a:gd name="connsiteX17" fmla="*/ 32918 w 49036"/>
                <a:gd name="connsiteY17" fmla="*/ 36706 h 51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036" h="51048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818D8424-E1E5-4CEA-B943-031A14C31834}"/>
                </a:ext>
              </a:extLst>
            </p:cNvPr>
            <p:cNvSpPr/>
            <p:nvPr/>
          </p:nvSpPr>
          <p:spPr>
            <a:xfrm rot="16200000">
              <a:off x="12005374" y="6370523"/>
              <a:ext cx="71791" cy="51205"/>
            </a:xfrm>
            <a:custGeom>
              <a:avLst/>
              <a:gdLst>
                <a:gd name="connsiteX0" fmla="*/ 62643 w 71791"/>
                <a:gd name="connsiteY0" fmla="*/ 1307 h 51205"/>
                <a:gd name="connsiteX1" fmla="*/ 68466 w 71791"/>
                <a:gd name="connsiteY1" fmla="*/ 5808 h 51205"/>
                <a:gd name="connsiteX2" fmla="*/ 71317 w 71791"/>
                <a:gd name="connsiteY2" fmla="*/ 12249 h 51205"/>
                <a:gd name="connsiteX3" fmla="*/ 71781 w 71791"/>
                <a:gd name="connsiteY3" fmla="*/ 19635 h 51205"/>
                <a:gd name="connsiteX4" fmla="*/ 71781 w 71791"/>
                <a:gd name="connsiteY4" fmla="*/ 51205 h 51205"/>
                <a:gd name="connsiteX5" fmla="*/ 58349 w 71791"/>
                <a:gd name="connsiteY5" fmla="*/ 51205 h 51205"/>
                <a:gd name="connsiteX6" fmla="*/ 58349 w 71791"/>
                <a:gd name="connsiteY6" fmla="*/ 19308 h 51205"/>
                <a:gd name="connsiteX7" fmla="*/ 57438 w 71791"/>
                <a:gd name="connsiteY7" fmla="*/ 14636 h 51205"/>
                <a:gd name="connsiteX8" fmla="*/ 50997 w 71791"/>
                <a:gd name="connsiteY8" fmla="*/ 11201 h 51205"/>
                <a:gd name="connsiteX9" fmla="*/ 43525 w 71791"/>
                <a:gd name="connsiteY9" fmla="*/ 15701 h 51205"/>
                <a:gd name="connsiteX10" fmla="*/ 42460 w 71791"/>
                <a:gd name="connsiteY10" fmla="*/ 21455 h 51205"/>
                <a:gd name="connsiteX11" fmla="*/ 42460 w 71791"/>
                <a:gd name="connsiteY11" fmla="*/ 51205 h 51205"/>
                <a:gd name="connsiteX12" fmla="*/ 29269 w 71791"/>
                <a:gd name="connsiteY12" fmla="*/ 51205 h 51205"/>
                <a:gd name="connsiteX13" fmla="*/ 29269 w 71791"/>
                <a:gd name="connsiteY13" fmla="*/ 21387 h 51205"/>
                <a:gd name="connsiteX14" fmla="*/ 28359 w 71791"/>
                <a:gd name="connsiteY14" fmla="*/ 14911 h 51205"/>
                <a:gd name="connsiteX15" fmla="*/ 21883 w 71791"/>
                <a:gd name="connsiteY15" fmla="*/ 11270 h 51205"/>
                <a:gd name="connsiteX16" fmla="*/ 14342 w 71791"/>
                <a:gd name="connsiteY16" fmla="*/ 14911 h 51205"/>
                <a:gd name="connsiteX17" fmla="*/ 13277 w 71791"/>
                <a:gd name="connsiteY17" fmla="*/ 21060 h 51205"/>
                <a:gd name="connsiteX18" fmla="*/ 13277 w 71791"/>
                <a:gd name="connsiteY18" fmla="*/ 51205 h 51205"/>
                <a:gd name="connsiteX19" fmla="*/ 0 w 71791"/>
                <a:gd name="connsiteY19" fmla="*/ 51205 h 51205"/>
                <a:gd name="connsiteX20" fmla="*/ 0 w 71791"/>
                <a:gd name="connsiteY20" fmla="*/ 1221 h 51205"/>
                <a:gd name="connsiteX21" fmla="*/ 12728 w 71791"/>
                <a:gd name="connsiteY21" fmla="*/ 1221 h 51205"/>
                <a:gd name="connsiteX22" fmla="*/ 12728 w 71791"/>
                <a:gd name="connsiteY22" fmla="*/ 8556 h 51205"/>
                <a:gd name="connsiteX23" fmla="*/ 17331 w 71791"/>
                <a:gd name="connsiteY23" fmla="*/ 2991 h 51205"/>
                <a:gd name="connsiteX24" fmla="*/ 36483 w 71791"/>
                <a:gd name="connsiteY24" fmla="*/ 2578 h 51205"/>
                <a:gd name="connsiteX25" fmla="*/ 40726 w 71791"/>
                <a:gd name="connsiteY25" fmla="*/ 8556 h 51205"/>
                <a:gd name="connsiteX26" fmla="*/ 47098 w 71791"/>
                <a:gd name="connsiteY26" fmla="*/ 2063 h 51205"/>
                <a:gd name="connsiteX27" fmla="*/ 56116 w 71791"/>
                <a:gd name="connsiteY27" fmla="*/ 2 h 51205"/>
                <a:gd name="connsiteX28" fmla="*/ 62643 w 71791"/>
                <a:gd name="connsiteY28" fmla="*/ 1307 h 5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1791" h="51205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D574BA9D-7055-4FA2-8E03-444768562509}"/>
                </a:ext>
              </a:extLst>
            </p:cNvPr>
            <p:cNvSpPr/>
            <p:nvPr/>
          </p:nvSpPr>
          <p:spPr>
            <a:xfrm rot="16200000">
              <a:off x="12026199" y="6307354"/>
              <a:ext cx="13277" cy="68070"/>
            </a:xfrm>
            <a:custGeom>
              <a:avLst/>
              <a:gdLst>
                <a:gd name="connsiteX0" fmla="*/ 13278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8 w 13277"/>
                <a:gd name="connsiteY3" fmla="*/ 0 h 68070"/>
                <a:gd name="connsiteX4" fmla="*/ 0 w 13277"/>
                <a:gd name="connsiteY4" fmla="*/ 17984 h 68070"/>
                <a:gd name="connsiteX5" fmla="*/ 13278 w 13277"/>
                <a:gd name="connsiteY5" fmla="*/ 17984 h 68070"/>
                <a:gd name="connsiteX6" fmla="*/ 13278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272AB694-FDCC-4212-966C-BC0216663D14}"/>
                </a:ext>
              </a:extLst>
            </p:cNvPr>
            <p:cNvSpPr/>
            <p:nvPr/>
          </p:nvSpPr>
          <p:spPr>
            <a:xfrm rot="16200000">
              <a:off x="12018641" y="6273739"/>
              <a:ext cx="45208" cy="51255"/>
            </a:xfrm>
            <a:custGeom>
              <a:avLst/>
              <a:gdLst>
                <a:gd name="connsiteX0" fmla="*/ 40296 w 45208"/>
                <a:gd name="connsiteY0" fmla="*/ 4038 h 51255"/>
                <a:gd name="connsiteX1" fmla="*/ 45209 w 45208"/>
                <a:gd name="connsiteY1" fmla="*/ 17521 h 51255"/>
                <a:gd name="connsiteX2" fmla="*/ 45209 w 45208"/>
                <a:gd name="connsiteY2" fmla="*/ 51256 h 51255"/>
                <a:gd name="connsiteX3" fmla="*/ 31794 w 45208"/>
                <a:gd name="connsiteY3" fmla="*/ 51256 h 51255"/>
                <a:gd name="connsiteX4" fmla="*/ 31794 w 45208"/>
                <a:gd name="connsiteY4" fmla="*/ 20785 h 51255"/>
                <a:gd name="connsiteX5" fmla="*/ 30746 w 45208"/>
                <a:gd name="connsiteY5" fmla="*/ 14722 h 51255"/>
                <a:gd name="connsiteX6" fmla="*/ 23446 w 45208"/>
                <a:gd name="connsiteY6" fmla="*/ 10874 h 51255"/>
                <a:gd name="connsiteX7" fmla="*/ 14377 w 45208"/>
                <a:gd name="connsiteY7" fmla="*/ 16525 h 51255"/>
                <a:gd name="connsiteX8" fmla="*/ 13089 w 45208"/>
                <a:gd name="connsiteY8" fmla="*/ 24151 h 51255"/>
                <a:gd name="connsiteX9" fmla="*/ 13089 w 45208"/>
                <a:gd name="connsiteY9" fmla="*/ 51256 h 51255"/>
                <a:gd name="connsiteX10" fmla="*/ 0 w 45208"/>
                <a:gd name="connsiteY10" fmla="*/ 51256 h 51255"/>
                <a:gd name="connsiteX11" fmla="*/ 0 w 45208"/>
                <a:gd name="connsiteY11" fmla="*/ 1272 h 51255"/>
                <a:gd name="connsiteX12" fmla="*/ 12676 w 45208"/>
                <a:gd name="connsiteY12" fmla="*/ 1272 h 51255"/>
                <a:gd name="connsiteX13" fmla="*/ 12676 w 45208"/>
                <a:gd name="connsiteY13" fmla="*/ 8607 h 51255"/>
                <a:gd name="connsiteX14" fmla="*/ 17434 w 45208"/>
                <a:gd name="connsiteY14" fmla="*/ 3042 h 51255"/>
                <a:gd name="connsiteX15" fmla="*/ 27637 w 45208"/>
                <a:gd name="connsiteY15" fmla="*/ 18 h 51255"/>
                <a:gd name="connsiteX16" fmla="*/ 40296 w 45208"/>
                <a:gd name="connsiteY16" fmla="*/ 4038 h 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5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448531E-C3BA-4E0A-91B0-AEECDD3F1419}"/>
                </a:ext>
              </a:extLst>
            </p:cNvPr>
            <p:cNvSpPr/>
            <p:nvPr/>
          </p:nvSpPr>
          <p:spPr>
            <a:xfrm rot="16200000">
              <a:off x="12017163" y="6218687"/>
              <a:ext cx="48082" cy="51510"/>
            </a:xfrm>
            <a:custGeom>
              <a:avLst/>
              <a:gdLst>
                <a:gd name="connsiteX0" fmla="*/ 35384 w 48082"/>
                <a:gd name="connsiteY0" fmla="*/ 2281 h 51510"/>
                <a:gd name="connsiteX1" fmla="*/ 43766 w 48082"/>
                <a:gd name="connsiteY1" fmla="*/ 9444 h 51510"/>
                <a:gd name="connsiteX2" fmla="*/ 47631 w 48082"/>
                <a:gd name="connsiteY2" fmla="*/ 19475 h 51510"/>
                <a:gd name="connsiteX3" fmla="*/ 48043 w 48082"/>
                <a:gd name="connsiteY3" fmla="*/ 29094 h 51510"/>
                <a:gd name="connsiteX4" fmla="*/ 12711 w 48082"/>
                <a:gd name="connsiteY4" fmla="*/ 29094 h 51510"/>
                <a:gd name="connsiteX5" fmla="*/ 17778 w 48082"/>
                <a:gd name="connsiteY5" fmla="*/ 39400 h 51510"/>
                <a:gd name="connsiteX6" fmla="*/ 24769 w 48082"/>
                <a:gd name="connsiteY6" fmla="*/ 41237 h 51510"/>
                <a:gd name="connsiteX7" fmla="*/ 31811 w 48082"/>
                <a:gd name="connsiteY7" fmla="*/ 39004 h 51510"/>
                <a:gd name="connsiteX8" fmla="*/ 34405 w 48082"/>
                <a:gd name="connsiteY8" fmla="*/ 35672 h 51510"/>
                <a:gd name="connsiteX9" fmla="*/ 47407 w 48082"/>
                <a:gd name="connsiteY9" fmla="*/ 35672 h 51510"/>
                <a:gd name="connsiteX10" fmla="*/ 42701 w 48082"/>
                <a:gd name="connsiteY10" fmla="*/ 44432 h 51510"/>
                <a:gd name="connsiteX11" fmla="*/ 24459 w 48082"/>
                <a:gd name="connsiteY11" fmla="*/ 51509 h 51510"/>
                <a:gd name="connsiteX12" fmla="*/ 7386 w 48082"/>
                <a:gd name="connsiteY12" fmla="*/ 45549 h 51510"/>
                <a:gd name="connsiteX13" fmla="*/ 0 w 48082"/>
                <a:gd name="connsiteY13" fmla="*/ 26139 h 51510"/>
                <a:gd name="connsiteX14" fmla="*/ 6682 w 48082"/>
                <a:gd name="connsiteY14" fmla="*/ 6816 h 51510"/>
                <a:gd name="connsiteX15" fmla="*/ 23961 w 48082"/>
                <a:gd name="connsiteY15" fmla="*/ 14 h 51510"/>
                <a:gd name="connsiteX16" fmla="*/ 35384 w 48082"/>
                <a:gd name="connsiteY16" fmla="*/ 2281 h 51510"/>
                <a:gd name="connsiteX17" fmla="*/ 16490 w 48082"/>
                <a:gd name="connsiteY17" fmla="*/ 13223 h 51510"/>
                <a:gd name="connsiteX18" fmla="*/ 13054 w 48082"/>
                <a:gd name="connsiteY18" fmla="*/ 20797 h 51510"/>
                <a:gd name="connsiteX19" fmla="*/ 34886 w 48082"/>
                <a:gd name="connsiteY19" fmla="*/ 20797 h 51510"/>
                <a:gd name="connsiteX20" fmla="*/ 31450 w 48082"/>
                <a:gd name="connsiteY20" fmla="*/ 13137 h 51510"/>
                <a:gd name="connsiteX21" fmla="*/ 23961 w 48082"/>
                <a:gd name="connsiteY21" fmla="*/ 10491 h 51510"/>
                <a:gd name="connsiteX22" fmla="*/ 16490 w 48082"/>
                <a:gd name="connsiteY22" fmla="*/ 13223 h 5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8082" h="5151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41" name="Copyright">
            <a:extLst>
              <a:ext uri="{FF2B5EF4-FFF2-40B4-BE49-F238E27FC236}">
                <a16:creationId xmlns:a16="http://schemas.microsoft.com/office/drawing/2014/main" id="{F20859F3-B437-4822-B332-1586BE68BC99}"/>
              </a:ext>
            </a:extLst>
          </p:cNvPr>
          <p:cNvSpPr txBox="1"/>
          <p:nvPr userDrawn="1"/>
        </p:nvSpPr>
        <p:spPr>
          <a:xfrm rot="16200000">
            <a:off x="11250971" y="5290633"/>
            <a:ext cx="1567737" cy="110800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lvl="0" algn="l" rtl="0"/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0. All rights reserved.</a:t>
            </a:r>
          </a:p>
        </p:txBody>
      </p:sp>
      <p:sp>
        <p:nvSpPr>
          <p:cNvPr id="42" name="Slide Number Placeholder 5">
            <a:extLst>
              <a:ext uri="{FF2B5EF4-FFF2-40B4-BE49-F238E27FC236}">
                <a16:creationId xmlns:a16="http://schemas.microsoft.com/office/drawing/2014/main" id="{D2F10C76-7B37-48DF-B539-56FF4C0C1B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3" y="6465614"/>
            <a:ext cx="150682" cy="138499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69065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Grey background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5673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5A3ACF9-E695-4094-9A16-A4F48EC9FF1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 rtl="0">
              <a:defRPr lang="en-IN" dirty="0"/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1A2FF9-94F4-4F68-B7EE-D99445194A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50862" y="6465614"/>
            <a:ext cx="65" cy="138499"/>
          </a:xfrm>
        </p:spPr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4C70F-8641-4AD5-A3F6-0EBA9C54EA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81965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3.svg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F01376A-4F6C-4427-9AC0-67FB4C2B0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153019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425" imgH="426" progId="TCLayout.ActiveDocument.1">
                  <p:embed/>
                </p:oleObj>
              </mc:Choice>
              <mc:Fallback>
                <p:oleObj name="think-cell Slide" r:id="rId36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F01376A-4F6C-4427-9AC0-67FB4C2B0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9302799-8A9B-47DC-8DBF-34AF7857573E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7B31061-A44E-4C9C-B07F-D8CDA855BC79}"/>
              </a:ext>
            </a:extLst>
          </p:cNvPr>
          <p:cNvGrpSpPr/>
          <p:nvPr userDrawn="1"/>
        </p:nvGrpSpPr>
        <p:grpSpPr>
          <a:xfrm>
            <a:off x="11998459" y="6162188"/>
            <a:ext cx="68500" cy="441924"/>
            <a:chOff x="11998459" y="6162188"/>
            <a:chExt cx="68500" cy="441924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8093E00-38A0-4CF7-8C69-DC28CFFA7EF3}"/>
                </a:ext>
              </a:extLst>
            </p:cNvPr>
            <p:cNvSpPr/>
            <p:nvPr/>
          </p:nvSpPr>
          <p:spPr>
            <a:xfrm rot="16200000">
              <a:off x="12063068" y="6476346"/>
              <a:ext cx="17" cy="1717"/>
            </a:xfrm>
            <a:custGeom>
              <a:avLst/>
              <a:gdLst>
                <a:gd name="connsiteX0" fmla="*/ 0 w 17"/>
                <a:gd name="connsiteY0" fmla="*/ 0 h 1717"/>
                <a:gd name="connsiteX1" fmla="*/ 17 w 17"/>
                <a:gd name="connsiteY1" fmla="*/ 0 h 1717"/>
                <a:gd name="connsiteX2" fmla="*/ 17 w 17"/>
                <a:gd name="connsiteY2" fmla="*/ 0 h 1717"/>
                <a:gd name="connsiteX3" fmla="*/ 0 w 17"/>
                <a:gd name="connsiteY3" fmla="*/ 0 h 1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" h="1717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83A998E-3729-4FC5-A5CC-4DC84AB76CC9}"/>
                </a:ext>
              </a:extLst>
            </p:cNvPr>
            <p:cNvSpPr/>
            <p:nvPr/>
          </p:nvSpPr>
          <p:spPr>
            <a:xfrm rot="16200000">
              <a:off x="12023737" y="6455896"/>
              <a:ext cx="453" cy="271"/>
            </a:xfrm>
            <a:custGeom>
              <a:avLst/>
              <a:gdLst>
                <a:gd name="connsiteX0" fmla="*/ 0 w 453"/>
                <a:gd name="connsiteY0" fmla="*/ 0 h 271"/>
                <a:gd name="connsiteX1" fmla="*/ 447 w 453"/>
                <a:gd name="connsiteY1" fmla="*/ 240 h 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" h="271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F98D7A59-77C4-4FFE-B4BC-D6D2E508A277}"/>
                </a:ext>
              </a:extLst>
            </p:cNvPr>
            <p:cNvSpPr/>
            <p:nvPr/>
          </p:nvSpPr>
          <p:spPr>
            <a:xfrm rot="16200000">
              <a:off x="12023907" y="6477766"/>
              <a:ext cx="15" cy="76"/>
            </a:xfrm>
            <a:custGeom>
              <a:avLst/>
              <a:gdLst>
                <a:gd name="connsiteX0" fmla="*/ 15 w 15"/>
                <a:gd name="connsiteY0" fmla="*/ 38 h 76"/>
                <a:gd name="connsiteX1" fmla="*/ 15 w 15"/>
                <a:gd name="connsiteY1" fmla="*/ 38 h 76"/>
                <a:gd name="connsiteX2" fmla="*/ 15 w 15"/>
                <a:gd name="connsiteY2" fmla="*/ 38 h 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" h="76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E72B593-8E78-4A4E-8039-9E8AB005B734}"/>
                </a:ext>
              </a:extLst>
            </p:cNvPr>
            <p:cNvSpPr/>
            <p:nvPr/>
          </p:nvSpPr>
          <p:spPr>
            <a:xfrm rot="16200000">
              <a:off x="12021636" y="6473651"/>
              <a:ext cx="261" cy="103"/>
            </a:xfrm>
            <a:custGeom>
              <a:avLst/>
              <a:gdLst>
                <a:gd name="connsiteX0" fmla="*/ 262 w 261"/>
                <a:gd name="connsiteY0" fmla="*/ 0 h 103"/>
                <a:gd name="connsiteX1" fmla="*/ 56 w 261"/>
                <a:gd name="connsiteY1" fmla="*/ 103 h 103"/>
                <a:gd name="connsiteX2" fmla="*/ 56 w 261"/>
                <a:gd name="connsiteY2" fmla="*/ 103 h 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" h="103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33BC9DA-DBAA-429C-9B2D-F5DE885FFA1A}"/>
                </a:ext>
              </a:extLst>
            </p:cNvPr>
            <p:cNvSpPr/>
            <p:nvPr/>
          </p:nvSpPr>
          <p:spPr>
            <a:xfrm rot="16200000">
              <a:off x="12015635" y="6442208"/>
              <a:ext cx="51323" cy="51323"/>
            </a:xfrm>
            <a:custGeom>
              <a:avLst/>
              <a:gdLst>
                <a:gd name="connsiteX0" fmla="*/ 25662 w 51323"/>
                <a:gd name="connsiteY0" fmla="*/ 0 h 51323"/>
                <a:gd name="connsiteX1" fmla="*/ 0 w 51323"/>
                <a:gd name="connsiteY1" fmla="*/ 25662 h 51323"/>
                <a:gd name="connsiteX2" fmla="*/ 25662 w 51323"/>
                <a:gd name="connsiteY2" fmla="*/ 51323 h 51323"/>
                <a:gd name="connsiteX3" fmla="*/ 51324 w 51323"/>
                <a:gd name="connsiteY3" fmla="*/ 25662 h 51323"/>
                <a:gd name="connsiteX4" fmla="*/ 51324 w 51323"/>
                <a:gd name="connsiteY4" fmla="*/ 25610 h 51323"/>
                <a:gd name="connsiteX5" fmla="*/ 25679 w 51323"/>
                <a:gd name="connsiteY5" fmla="*/ 0 h 51323"/>
                <a:gd name="connsiteX6" fmla="*/ 25662 w 51323"/>
                <a:gd name="connsiteY6" fmla="*/ 0 h 51323"/>
                <a:gd name="connsiteX7" fmla="*/ 26967 w 51323"/>
                <a:gd name="connsiteY7" fmla="*/ 15648 h 51323"/>
                <a:gd name="connsiteX8" fmla="*/ 26967 w 51323"/>
                <a:gd name="connsiteY8" fmla="*/ 15837 h 51323"/>
                <a:gd name="connsiteX9" fmla="*/ 26744 w 51323"/>
                <a:gd name="connsiteY9" fmla="*/ 15837 h 51323"/>
                <a:gd name="connsiteX10" fmla="*/ 26933 w 51323"/>
                <a:gd name="connsiteY10" fmla="*/ 16163 h 51323"/>
                <a:gd name="connsiteX11" fmla="*/ 27036 w 51323"/>
                <a:gd name="connsiteY11" fmla="*/ 16163 h 51323"/>
                <a:gd name="connsiteX12" fmla="*/ 27294 w 51323"/>
                <a:gd name="connsiteY12" fmla="*/ 16489 h 51323"/>
                <a:gd name="connsiteX13" fmla="*/ 27294 w 51323"/>
                <a:gd name="connsiteY13" fmla="*/ 16489 h 51323"/>
                <a:gd name="connsiteX14" fmla="*/ 27294 w 51323"/>
                <a:gd name="connsiteY14" fmla="*/ 16489 h 51323"/>
                <a:gd name="connsiteX15" fmla="*/ 27294 w 51323"/>
                <a:gd name="connsiteY15" fmla="*/ 16489 h 51323"/>
                <a:gd name="connsiteX16" fmla="*/ 27156 w 51323"/>
                <a:gd name="connsiteY16" fmla="*/ 16489 h 51323"/>
                <a:gd name="connsiteX17" fmla="*/ 27156 w 51323"/>
                <a:gd name="connsiteY17" fmla="*/ 16593 h 51323"/>
                <a:gd name="connsiteX18" fmla="*/ 27156 w 51323"/>
                <a:gd name="connsiteY18" fmla="*/ 16593 h 51323"/>
                <a:gd name="connsiteX19" fmla="*/ 27379 w 51323"/>
                <a:gd name="connsiteY19" fmla="*/ 16593 h 51323"/>
                <a:gd name="connsiteX20" fmla="*/ 27276 w 51323"/>
                <a:gd name="connsiteY20" fmla="*/ 16799 h 51323"/>
                <a:gd name="connsiteX21" fmla="*/ 26744 w 51323"/>
                <a:gd name="connsiteY21" fmla="*/ 16799 h 51323"/>
                <a:gd name="connsiteX22" fmla="*/ 26074 w 51323"/>
                <a:gd name="connsiteY22" fmla="*/ 16902 h 51323"/>
                <a:gd name="connsiteX23" fmla="*/ 25868 w 51323"/>
                <a:gd name="connsiteY23" fmla="*/ 16988 h 51323"/>
                <a:gd name="connsiteX24" fmla="*/ 25559 w 51323"/>
                <a:gd name="connsiteY24" fmla="*/ 17142 h 51323"/>
                <a:gd name="connsiteX25" fmla="*/ 25404 w 51323"/>
                <a:gd name="connsiteY25" fmla="*/ 17142 h 51323"/>
                <a:gd name="connsiteX26" fmla="*/ 25816 w 51323"/>
                <a:gd name="connsiteY26" fmla="*/ 16764 h 51323"/>
                <a:gd name="connsiteX27" fmla="*/ 26194 w 51323"/>
                <a:gd name="connsiteY27" fmla="*/ 16764 h 51323"/>
                <a:gd name="connsiteX28" fmla="*/ 26349 w 51323"/>
                <a:gd name="connsiteY28" fmla="*/ 16541 h 51323"/>
                <a:gd name="connsiteX29" fmla="*/ 26005 w 51323"/>
                <a:gd name="connsiteY29" fmla="*/ 16627 h 51323"/>
                <a:gd name="connsiteX30" fmla="*/ 25902 w 51323"/>
                <a:gd name="connsiteY30" fmla="*/ 16627 h 51323"/>
                <a:gd name="connsiteX31" fmla="*/ 25662 w 51323"/>
                <a:gd name="connsiteY31" fmla="*/ 16627 h 51323"/>
                <a:gd name="connsiteX32" fmla="*/ 25662 w 51323"/>
                <a:gd name="connsiteY32" fmla="*/ 16627 h 51323"/>
                <a:gd name="connsiteX33" fmla="*/ 25662 w 51323"/>
                <a:gd name="connsiteY33" fmla="*/ 16627 h 51323"/>
                <a:gd name="connsiteX34" fmla="*/ 26005 w 51323"/>
                <a:gd name="connsiteY34" fmla="*/ 16215 h 51323"/>
                <a:gd name="connsiteX35" fmla="*/ 25834 w 51323"/>
                <a:gd name="connsiteY35" fmla="*/ 16215 h 51323"/>
                <a:gd name="connsiteX36" fmla="*/ 26297 w 51323"/>
                <a:gd name="connsiteY36" fmla="*/ 16060 h 51323"/>
                <a:gd name="connsiteX37" fmla="*/ 26297 w 51323"/>
                <a:gd name="connsiteY37" fmla="*/ 16060 h 51323"/>
                <a:gd name="connsiteX38" fmla="*/ 26297 w 51323"/>
                <a:gd name="connsiteY38" fmla="*/ 15785 h 51323"/>
                <a:gd name="connsiteX39" fmla="*/ 26194 w 51323"/>
                <a:gd name="connsiteY39" fmla="*/ 15785 h 51323"/>
                <a:gd name="connsiteX40" fmla="*/ 26194 w 51323"/>
                <a:gd name="connsiteY40" fmla="*/ 15785 h 51323"/>
                <a:gd name="connsiteX41" fmla="*/ 26194 w 51323"/>
                <a:gd name="connsiteY41" fmla="*/ 15493 h 51323"/>
                <a:gd name="connsiteX42" fmla="*/ 25834 w 51323"/>
                <a:gd name="connsiteY42" fmla="*/ 15493 h 51323"/>
                <a:gd name="connsiteX43" fmla="*/ 25834 w 51323"/>
                <a:gd name="connsiteY43" fmla="*/ 15596 h 51323"/>
                <a:gd name="connsiteX44" fmla="*/ 25713 w 51323"/>
                <a:gd name="connsiteY44" fmla="*/ 15596 h 51323"/>
                <a:gd name="connsiteX45" fmla="*/ 25713 w 51323"/>
                <a:gd name="connsiteY45" fmla="*/ 15459 h 51323"/>
                <a:gd name="connsiteX46" fmla="*/ 25713 w 51323"/>
                <a:gd name="connsiteY46" fmla="*/ 15459 h 51323"/>
                <a:gd name="connsiteX47" fmla="*/ 25816 w 51323"/>
                <a:gd name="connsiteY47" fmla="*/ 15236 h 51323"/>
                <a:gd name="connsiteX48" fmla="*/ 25816 w 51323"/>
                <a:gd name="connsiteY48" fmla="*/ 15064 h 51323"/>
                <a:gd name="connsiteX49" fmla="*/ 25816 w 51323"/>
                <a:gd name="connsiteY49" fmla="*/ 14961 h 51323"/>
                <a:gd name="connsiteX50" fmla="*/ 25816 w 51323"/>
                <a:gd name="connsiteY50" fmla="*/ 15081 h 51323"/>
                <a:gd name="connsiteX51" fmla="*/ 25816 w 51323"/>
                <a:gd name="connsiteY51" fmla="*/ 15081 h 51323"/>
                <a:gd name="connsiteX52" fmla="*/ 25816 w 51323"/>
                <a:gd name="connsiteY52" fmla="*/ 15081 h 51323"/>
                <a:gd name="connsiteX53" fmla="*/ 25816 w 51323"/>
                <a:gd name="connsiteY53" fmla="*/ 15081 h 51323"/>
                <a:gd name="connsiteX54" fmla="*/ 25816 w 51323"/>
                <a:gd name="connsiteY54" fmla="*/ 15356 h 51323"/>
                <a:gd name="connsiteX55" fmla="*/ 25816 w 51323"/>
                <a:gd name="connsiteY55" fmla="*/ 15167 h 51323"/>
                <a:gd name="connsiteX56" fmla="*/ 25919 w 51323"/>
                <a:gd name="connsiteY56" fmla="*/ 14823 h 51323"/>
                <a:gd name="connsiteX57" fmla="*/ 25919 w 51323"/>
                <a:gd name="connsiteY57" fmla="*/ 14823 h 51323"/>
                <a:gd name="connsiteX58" fmla="*/ 25731 w 51323"/>
                <a:gd name="connsiteY58" fmla="*/ 14823 h 51323"/>
                <a:gd name="connsiteX59" fmla="*/ 25731 w 51323"/>
                <a:gd name="connsiteY59" fmla="*/ 14823 h 51323"/>
                <a:gd name="connsiteX60" fmla="*/ 25868 w 51323"/>
                <a:gd name="connsiteY60" fmla="*/ 14737 h 51323"/>
                <a:gd name="connsiteX61" fmla="*/ 25868 w 51323"/>
                <a:gd name="connsiteY61" fmla="*/ 14737 h 51323"/>
                <a:gd name="connsiteX62" fmla="*/ 25868 w 51323"/>
                <a:gd name="connsiteY62" fmla="*/ 14737 h 51323"/>
                <a:gd name="connsiteX63" fmla="*/ 25868 w 51323"/>
                <a:gd name="connsiteY63" fmla="*/ 14737 h 51323"/>
                <a:gd name="connsiteX64" fmla="*/ 25868 w 51323"/>
                <a:gd name="connsiteY64" fmla="*/ 14737 h 51323"/>
                <a:gd name="connsiteX65" fmla="*/ 25868 w 51323"/>
                <a:gd name="connsiteY65" fmla="*/ 14737 h 51323"/>
                <a:gd name="connsiteX66" fmla="*/ 25868 w 51323"/>
                <a:gd name="connsiteY66" fmla="*/ 14652 h 51323"/>
                <a:gd name="connsiteX67" fmla="*/ 25868 w 51323"/>
                <a:gd name="connsiteY67" fmla="*/ 14652 h 51323"/>
                <a:gd name="connsiteX68" fmla="*/ 25868 w 51323"/>
                <a:gd name="connsiteY68" fmla="*/ 14514 h 51323"/>
                <a:gd name="connsiteX69" fmla="*/ 25868 w 51323"/>
                <a:gd name="connsiteY69" fmla="*/ 14514 h 51323"/>
                <a:gd name="connsiteX70" fmla="*/ 25868 w 51323"/>
                <a:gd name="connsiteY70" fmla="*/ 14514 h 51323"/>
                <a:gd name="connsiteX71" fmla="*/ 25971 w 51323"/>
                <a:gd name="connsiteY71" fmla="*/ 14514 h 51323"/>
                <a:gd name="connsiteX72" fmla="*/ 25971 w 51323"/>
                <a:gd name="connsiteY72" fmla="*/ 14428 h 51323"/>
                <a:gd name="connsiteX73" fmla="*/ 26126 w 51323"/>
                <a:gd name="connsiteY73" fmla="*/ 14291 h 51323"/>
                <a:gd name="connsiteX74" fmla="*/ 26126 w 51323"/>
                <a:gd name="connsiteY74" fmla="*/ 14291 h 51323"/>
                <a:gd name="connsiteX75" fmla="*/ 26126 w 51323"/>
                <a:gd name="connsiteY75" fmla="*/ 14531 h 51323"/>
                <a:gd name="connsiteX76" fmla="*/ 26126 w 51323"/>
                <a:gd name="connsiteY76" fmla="*/ 14531 h 51323"/>
                <a:gd name="connsiteX77" fmla="*/ 26486 w 51323"/>
                <a:gd name="connsiteY77" fmla="*/ 14531 h 51323"/>
                <a:gd name="connsiteX78" fmla="*/ 26263 w 51323"/>
                <a:gd name="connsiteY78" fmla="*/ 14995 h 51323"/>
                <a:gd name="connsiteX79" fmla="*/ 26263 w 51323"/>
                <a:gd name="connsiteY79" fmla="*/ 14995 h 51323"/>
                <a:gd name="connsiteX80" fmla="*/ 26005 w 51323"/>
                <a:gd name="connsiteY80" fmla="*/ 14995 h 51323"/>
                <a:gd name="connsiteX81" fmla="*/ 26224 w 51323"/>
                <a:gd name="connsiteY81" fmla="*/ 15000 h 51323"/>
                <a:gd name="connsiteX82" fmla="*/ 26229 w 51323"/>
                <a:gd name="connsiteY82" fmla="*/ 14995 h 51323"/>
                <a:gd name="connsiteX83" fmla="*/ 26589 w 51323"/>
                <a:gd name="connsiteY83" fmla="*/ 15579 h 51323"/>
                <a:gd name="connsiteX84" fmla="*/ 26967 w 51323"/>
                <a:gd name="connsiteY84" fmla="*/ 15613 h 51323"/>
                <a:gd name="connsiteX85" fmla="*/ 18138 w 51323"/>
                <a:gd name="connsiteY85" fmla="*/ 47476 h 51323"/>
                <a:gd name="connsiteX86" fmla="*/ 18138 w 51323"/>
                <a:gd name="connsiteY86" fmla="*/ 47476 h 51323"/>
                <a:gd name="connsiteX87" fmla="*/ 18138 w 51323"/>
                <a:gd name="connsiteY87" fmla="*/ 47476 h 51323"/>
                <a:gd name="connsiteX88" fmla="*/ 18138 w 51323"/>
                <a:gd name="connsiteY88" fmla="*/ 47476 h 51323"/>
                <a:gd name="connsiteX89" fmla="*/ 18224 w 51323"/>
                <a:gd name="connsiteY89" fmla="*/ 47476 h 51323"/>
                <a:gd name="connsiteX90" fmla="*/ 18224 w 51323"/>
                <a:gd name="connsiteY90" fmla="*/ 47476 h 51323"/>
                <a:gd name="connsiteX91" fmla="*/ 17984 w 51323"/>
                <a:gd name="connsiteY91" fmla="*/ 47338 h 51323"/>
                <a:gd name="connsiteX92" fmla="*/ 17984 w 51323"/>
                <a:gd name="connsiteY92" fmla="*/ 47338 h 51323"/>
                <a:gd name="connsiteX93" fmla="*/ 17984 w 51323"/>
                <a:gd name="connsiteY93" fmla="*/ 47338 h 51323"/>
                <a:gd name="connsiteX94" fmla="*/ 18070 w 51323"/>
                <a:gd name="connsiteY94" fmla="*/ 47338 h 51323"/>
                <a:gd name="connsiteX95" fmla="*/ 18070 w 51323"/>
                <a:gd name="connsiteY95" fmla="*/ 47338 h 51323"/>
                <a:gd name="connsiteX96" fmla="*/ 18070 w 51323"/>
                <a:gd name="connsiteY96" fmla="*/ 47338 h 51323"/>
                <a:gd name="connsiteX97" fmla="*/ 17795 w 51323"/>
                <a:gd name="connsiteY97" fmla="*/ 47218 h 51323"/>
                <a:gd name="connsiteX98" fmla="*/ 17795 w 51323"/>
                <a:gd name="connsiteY98" fmla="*/ 47218 h 51323"/>
                <a:gd name="connsiteX99" fmla="*/ 17795 w 51323"/>
                <a:gd name="connsiteY99" fmla="*/ 47218 h 51323"/>
                <a:gd name="connsiteX100" fmla="*/ 17692 w 51323"/>
                <a:gd name="connsiteY100" fmla="*/ 47218 h 51323"/>
                <a:gd name="connsiteX101" fmla="*/ 17692 w 51323"/>
                <a:gd name="connsiteY101" fmla="*/ 47218 h 51323"/>
                <a:gd name="connsiteX102" fmla="*/ 17692 w 51323"/>
                <a:gd name="connsiteY102" fmla="*/ 47218 h 51323"/>
                <a:gd name="connsiteX103" fmla="*/ 17692 w 51323"/>
                <a:gd name="connsiteY103" fmla="*/ 47218 h 51323"/>
                <a:gd name="connsiteX104" fmla="*/ 17864 w 51323"/>
                <a:gd name="connsiteY104" fmla="*/ 47218 h 51323"/>
                <a:gd name="connsiteX105" fmla="*/ 17658 w 51323"/>
                <a:gd name="connsiteY105" fmla="*/ 47218 h 51323"/>
                <a:gd name="connsiteX106" fmla="*/ 17658 w 51323"/>
                <a:gd name="connsiteY106" fmla="*/ 47218 h 51323"/>
                <a:gd name="connsiteX107" fmla="*/ 17417 w 51323"/>
                <a:gd name="connsiteY107" fmla="*/ 47115 h 51323"/>
                <a:gd name="connsiteX108" fmla="*/ 17417 w 51323"/>
                <a:gd name="connsiteY108" fmla="*/ 47115 h 51323"/>
                <a:gd name="connsiteX109" fmla="*/ 17417 w 51323"/>
                <a:gd name="connsiteY109" fmla="*/ 47115 h 51323"/>
                <a:gd name="connsiteX110" fmla="*/ 17280 w 51323"/>
                <a:gd name="connsiteY110" fmla="*/ 47115 h 51323"/>
                <a:gd name="connsiteX111" fmla="*/ 17469 w 51323"/>
                <a:gd name="connsiteY111" fmla="*/ 47218 h 51323"/>
                <a:gd name="connsiteX112" fmla="*/ 17194 w 51323"/>
                <a:gd name="connsiteY112" fmla="*/ 47081 h 51323"/>
                <a:gd name="connsiteX113" fmla="*/ 17194 w 51323"/>
                <a:gd name="connsiteY113" fmla="*/ 47081 h 51323"/>
                <a:gd name="connsiteX114" fmla="*/ 17366 w 51323"/>
                <a:gd name="connsiteY114" fmla="*/ 47081 h 51323"/>
                <a:gd name="connsiteX115" fmla="*/ 17228 w 51323"/>
                <a:gd name="connsiteY115" fmla="*/ 47081 h 51323"/>
                <a:gd name="connsiteX116" fmla="*/ 17366 w 51323"/>
                <a:gd name="connsiteY116" fmla="*/ 47081 h 51323"/>
                <a:gd name="connsiteX117" fmla="*/ 17108 w 51323"/>
                <a:gd name="connsiteY117" fmla="*/ 46961 h 51323"/>
                <a:gd name="connsiteX118" fmla="*/ 17108 w 51323"/>
                <a:gd name="connsiteY118" fmla="*/ 46961 h 51323"/>
                <a:gd name="connsiteX119" fmla="*/ 17005 w 51323"/>
                <a:gd name="connsiteY119" fmla="*/ 46961 h 51323"/>
                <a:gd name="connsiteX120" fmla="*/ 17005 w 51323"/>
                <a:gd name="connsiteY120" fmla="*/ 46961 h 51323"/>
                <a:gd name="connsiteX121" fmla="*/ 16782 w 51323"/>
                <a:gd name="connsiteY121" fmla="*/ 46858 h 51323"/>
                <a:gd name="connsiteX122" fmla="*/ 16782 w 51323"/>
                <a:gd name="connsiteY122" fmla="*/ 46858 h 51323"/>
                <a:gd name="connsiteX123" fmla="*/ 16696 w 51323"/>
                <a:gd name="connsiteY123" fmla="*/ 46858 h 51323"/>
                <a:gd name="connsiteX124" fmla="*/ 16696 w 51323"/>
                <a:gd name="connsiteY124" fmla="*/ 46858 h 51323"/>
                <a:gd name="connsiteX125" fmla="*/ 16301 w 51323"/>
                <a:gd name="connsiteY125" fmla="*/ 46651 h 51323"/>
                <a:gd name="connsiteX126" fmla="*/ 16301 w 51323"/>
                <a:gd name="connsiteY126" fmla="*/ 46651 h 51323"/>
                <a:gd name="connsiteX127" fmla="*/ 16129 w 51323"/>
                <a:gd name="connsiteY127" fmla="*/ 46548 h 51323"/>
                <a:gd name="connsiteX128" fmla="*/ 16283 w 51323"/>
                <a:gd name="connsiteY128" fmla="*/ 46651 h 51323"/>
                <a:gd name="connsiteX129" fmla="*/ 15940 w 51323"/>
                <a:gd name="connsiteY129" fmla="*/ 46462 h 51323"/>
                <a:gd name="connsiteX130" fmla="*/ 15940 w 51323"/>
                <a:gd name="connsiteY130" fmla="*/ 46462 h 51323"/>
                <a:gd name="connsiteX131" fmla="*/ 15837 w 51323"/>
                <a:gd name="connsiteY131" fmla="*/ 46462 h 51323"/>
                <a:gd name="connsiteX132" fmla="*/ 15837 w 51323"/>
                <a:gd name="connsiteY132" fmla="*/ 46462 h 51323"/>
                <a:gd name="connsiteX133" fmla="*/ 15665 w 51323"/>
                <a:gd name="connsiteY133" fmla="*/ 46359 h 51323"/>
                <a:gd name="connsiteX134" fmla="*/ 15665 w 51323"/>
                <a:gd name="connsiteY134" fmla="*/ 46359 h 51323"/>
                <a:gd name="connsiteX135" fmla="*/ 15665 w 51323"/>
                <a:gd name="connsiteY135" fmla="*/ 46359 h 51323"/>
                <a:gd name="connsiteX136" fmla="*/ 15665 w 51323"/>
                <a:gd name="connsiteY136" fmla="*/ 46359 h 51323"/>
                <a:gd name="connsiteX137" fmla="*/ 15510 w 51323"/>
                <a:gd name="connsiteY137" fmla="*/ 46274 h 51323"/>
                <a:gd name="connsiteX138" fmla="*/ 15510 w 51323"/>
                <a:gd name="connsiteY138" fmla="*/ 46274 h 51323"/>
                <a:gd name="connsiteX139" fmla="*/ 15339 w 51323"/>
                <a:gd name="connsiteY139" fmla="*/ 46153 h 51323"/>
                <a:gd name="connsiteX140" fmla="*/ 15339 w 51323"/>
                <a:gd name="connsiteY140" fmla="*/ 46153 h 51323"/>
                <a:gd name="connsiteX141" fmla="*/ 15201 w 51323"/>
                <a:gd name="connsiteY141" fmla="*/ 46153 h 51323"/>
                <a:gd name="connsiteX142" fmla="*/ 15201 w 51323"/>
                <a:gd name="connsiteY142" fmla="*/ 46153 h 51323"/>
                <a:gd name="connsiteX143" fmla="*/ 15081 w 51323"/>
                <a:gd name="connsiteY143" fmla="*/ 46153 h 51323"/>
                <a:gd name="connsiteX144" fmla="*/ 15081 w 51323"/>
                <a:gd name="connsiteY144" fmla="*/ 46153 h 51323"/>
                <a:gd name="connsiteX145" fmla="*/ 15218 w 51323"/>
                <a:gd name="connsiteY145" fmla="*/ 46239 h 51323"/>
                <a:gd name="connsiteX146" fmla="*/ 15081 w 51323"/>
                <a:gd name="connsiteY146" fmla="*/ 46153 h 51323"/>
                <a:gd name="connsiteX147" fmla="*/ 15081 w 51323"/>
                <a:gd name="connsiteY147" fmla="*/ 46153 h 51323"/>
                <a:gd name="connsiteX148" fmla="*/ 14961 w 51323"/>
                <a:gd name="connsiteY148" fmla="*/ 46153 h 51323"/>
                <a:gd name="connsiteX149" fmla="*/ 14961 w 51323"/>
                <a:gd name="connsiteY149" fmla="*/ 46153 h 51323"/>
                <a:gd name="connsiteX150" fmla="*/ 14823 w 51323"/>
                <a:gd name="connsiteY150" fmla="*/ 46067 h 51323"/>
                <a:gd name="connsiteX151" fmla="*/ 15012 w 51323"/>
                <a:gd name="connsiteY151" fmla="*/ 46170 h 51323"/>
                <a:gd name="connsiteX152" fmla="*/ 15184 w 51323"/>
                <a:gd name="connsiteY152" fmla="*/ 46274 h 51323"/>
                <a:gd name="connsiteX153" fmla="*/ 14720 w 51323"/>
                <a:gd name="connsiteY153" fmla="*/ 45947 h 51323"/>
                <a:gd name="connsiteX154" fmla="*/ 14720 w 51323"/>
                <a:gd name="connsiteY154" fmla="*/ 45947 h 51323"/>
                <a:gd name="connsiteX155" fmla="*/ 13879 w 51323"/>
                <a:gd name="connsiteY155" fmla="*/ 45312 h 51323"/>
                <a:gd name="connsiteX156" fmla="*/ 13982 w 51323"/>
                <a:gd name="connsiteY156" fmla="*/ 45312 h 51323"/>
                <a:gd name="connsiteX157" fmla="*/ 13827 w 51323"/>
                <a:gd name="connsiteY157" fmla="*/ 45191 h 51323"/>
                <a:gd name="connsiteX158" fmla="*/ 13827 w 51323"/>
                <a:gd name="connsiteY158" fmla="*/ 45191 h 51323"/>
                <a:gd name="connsiteX159" fmla="*/ 13724 w 51323"/>
                <a:gd name="connsiteY159" fmla="*/ 45191 h 51323"/>
                <a:gd name="connsiteX160" fmla="*/ 13724 w 51323"/>
                <a:gd name="connsiteY160" fmla="*/ 45191 h 51323"/>
                <a:gd name="connsiteX161" fmla="*/ 13724 w 51323"/>
                <a:gd name="connsiteY161" fmla="*/ 45191 h 51323"/>
                <a:gd name="connsiteX162" fmla="*/ 13724 w 51323"/>
                <a:gd name="connsiteY162" fmla="*/ 45191 h 51323"/>
                <a:gd name="connsiteX163" fmla="*/ 13106 w 51323"/>
                <a:gd name="connsiteY163" fmla="*/ 44710 h 51323"/>
                <a:gd name="connsiteX164" fmla="*/ 13106 w 51323"/>
                <a:gd name="connsiteY164" fmla="*/ 44710 h 51323"/>
                <a:gd name="connsiteX165" fmla="*/ 12316 w 51323"/>
                <a:gd name="connsiteY165" fmla="*/ 44023 h 51323"/>
                <a:gd name="connsiteX166" fmla="*/ 12316 w 51323"/>
                <a:gd name="connsiteY166" fmla="*/ 44023 h 51323"/>
                <a:gd name="connsiteX167" fmla="*/ 9567 w 51323"/>
                <a:gd name="connsiteY167" fmla="*/ 40434 h 51323"/>
                <a:gd name="connsiteX168" fmla="*/ 9567 w 51323"/>
                <a:gd name="connsiteY168" fmla="*/ 40434 h 51323"/>
                <a:gd name="connsiteX169" fmla="*/ 8021 w 51323"/>
                <a:gd name="connsiteY169" fmla="*/ 37788 h 51323"/>
                <a:gd name="connsiteX170" fmla="*/ 8021 w 51323"/>
                <a:gd name="connsiteY170" fmla="*/ 37788 h 51323"/>
                <a:gd name="connsiteX171" fmla="*/ 5840 w 51323"/>
                <a:gd name="connsiteY171" fmla="*/ 33494 h 51323"/>
                <a:gd name="connsiteX172" fmla="*/ 5840 w 51323"/>
                <a:gd name="connsiteY172" fmla="*/ 33580 h 51323"/>
                <a:gd name="connsiteX173" fmla="*/ 5840 w 51323"/>
                <a:gd name="connsiteY173" fmla="*/ 33477 h 51323"/>
                <a:gd name="connsiteX174" fmla="*/ 5840 w 51323"/>
                <a:gd name="connsiteY174" fmla="*/ 33614 h 51323"/>
                <a:gd name="connsiteX175" fmla="*/ 5222 w 51323"/>
                <a:gd name="connsiteY175" fmla="*/ 30299 h 51323"/>
                <a:gd name="connsiteX176" fmla="*/ 5222 w 51323"/>
                <a:gd name="connsiteY176" fmla="*/ 30042 h 51323"/>
                <a:gd name="connsiteX177" fmla="*/ 5222 w 51323"/>
                <a:gd name="connsiteY177" fmla="*/ 30128 h 51323"/>
                <a:gd name="connsiteX178" fmla="*/ 5067 w 51323"/>
                <a:gd name="connsiteY178" fmla="*/ 29784 h 51323"/>
                <a:gd name="connsiteX179" fmla="*/ 5067 w 51323"/>
                <a:gd name="connsiteY179" fmla="*/ 29784 h 51323"/>
                <a:gd name="connsiteX180" fmla="*/ 5067 w 51323"/>
                <a:gd name="connsiteY180" fmla="*/ 29784 h 51323"/>
                <a:gd name="connsiteX181" fmla="*/ 5067 w 51323"/>
                <a:gd name="connsiteY181" fmla="*/ 29544 h 51323"/>
                <a:gd name="connsiteX182" fmla="*/ 5067 w 51323"/>
                <a:gd name="connsiteY182" fmla="*/ 29715 h 51323"/>
                <a:gd name="connsiteX183" fmla="*/ 4844 w 51323"/>
                <a:gd name="connsiteY183" fmla="*/ 28908 h 51323"/>
                <a:gd name="connsiteX184" fmla="*/ 4844 w 51323"/>
                <a:gd name="connsiteY184" fmla="*/ 29183 h 51323"/>
                <a:gd name="connsiteX185" fmla="*/ 4552 w 51323"/>
                <a:gd name="connsiteY185" fmla="*/ 27843 h 51323"/>
                <a:gd name="connsiteX186" fmla="*/ 4552 w 51323"/>
                <a:gd name="connsiteY186" fmla="*/ 27740 h 51323"/>
                <a:gd name="connsiteX187" fmla="*/ 4552 w 51323"/>
                <a:gd name="connsiteY187" fmla="*/ 27740 h 51323"/>
                <a:gd name="connsiteX188" fmla="*/ 4552 w 51323"/>
                <a:gd name="connsiteY188" fmla="*/ 27740 h 51323"/>
                <a:gd name="connsiteX189" fmla="*/ 4552 w 51323"/>
                <a:gd name="connsiteY189" fmla="*/ 27740 h 51323"/>
                <a:gd name="connsiteX190" fmla="*/ 4208 w 51323"/>
                <a:gd name="connsiteY190" fmla="*/ 26297 h 51323"/>
                <a:gd name="connsiteX191" fmla="*/ 4208 w 51323"/>
                <a:gd name="connsiteY191" fmla="*/ 26503 h 51323"/>
                <a:gd name="connsiteX192" fmla="*/ 4208 w 51323"/>
                <a:gd name="connsiteY192" fmla="*/ 26297 h 51323"/>
                <a:gd name="connsiteX193" fmla="*/ 4208 w 51323"/>
                <a:gd name="connsiteY193" fmla="*/ 26297 h 51323"/>
                <a:gd name="connsiteX194" fmla="*/ 4208 w 51323"/>
                <a:gd name="connsiteY194" fmla="*/ 26297 h 51323"/>
                <a:gd name="connsiteX195" fmla="*/ 4208 w 51323"/>
                <a:gd name="connsiteY195" fmla="*/ 26297 h 51323"/>
                <a:gd name="connsiteX196" fmla="*/ 4208 w 51323"/>
                <a:gd name="connsiteY196" fmla="*/ 26297 h 51323"/>
                <a:gd name="connsiteX197" fmla="*/ 4208 w 51323"/>
                <a:gd name="connsiteY197" fmla="*/ 26400 h 51323"/>
                <a:gd name="connsiteX198" fmla="*/ 4208 w 51323"/>
                <a:gd name="connsiteY198" fmla="*/ 26400 h 51323"/>
                <a:gd name="connsiteX199" fmla="*/ 4208 w 51323"/>
                <a:gd name="connsiteY199" fmla="*/ 26400 h 51323"/>
                <a:gd name="connsiteX200" fmla="*/ 4208 w 51323"/>
                <a:gd name="connsiteY200" fmla="*/ 26400 h 51323"/>
                <a:gd name="connsiteX201" fmla="*/ 4208 w 51323"/>
                <a:gd name="connsiteY201" fmla="*/ 26091 h 51323"/>
                <a:gd name="connsiteX202" fmla="*/ 4208 w 51323"/>
                <a:gd name="connsiteY202" fmla="*/ 26091 h 51323"/>
                <a:gd name="connsiteX203" fmla="*/ 4208 w 51323"/>
                <a:gd name="connsiteY203" fmla="*/ 25919 h 51323"/>
                <a:gd name="connsiteX204" fmla="*/ 4208 w 51323"/>
                <a:gd name="connsiteY204" fmla="*/ 25919 h 51323"/>
                <a:gd name="connsiteX205" fmla="*/ 4208 w 51323"/>
                <a:gd name="connsiteY205" fmla="*/ 25198 h 51323"/>
                <a:gd name="connsiteX206" fmla="*/ 4208 w 51323"/>
                <a:gd name="connsiteY206" fmla="*/ 25198 h 51323"/>
                <a:gd name="connsiteX207" fmla="*/ 4208 w 51323"/>
                <a:gd name="connsiteY207" fmla="*/ 25078 h 51323"/>
                <a:gd name="connsiteX208" fmla="*/ 4208 w 51323"/>
                <a:gd name="connsiteY208" fmla="*/ 25078 h 51323"/>
                <a:gd name="connsiteX209" fmla="*/ 19787 w 51323"/>
                <a:gd name="connsiteY209" fmla="*/ 4706 h 51323"/>
                <a:gd name="connsiteX210" fmla="*/ 19787 w 51323"/>
                <a:gd name="connsiteY210" fmla="*/ 4706 h 51323"/>
                <a:gd name="connsiteX211" fmla="*/ 19994 w 51323"/>
                <a:gd name="connsiteY211" fmla="*/ 4706 h 51323"/>
                <a:gd name="connsiteX212" fmla="*/ 19994 w 51323"/>
                <a:gd name="connsiteY212" fmla="*/ 4706 h 51323"/>
                <a:gd name="connsiteX213" fmla="*/ 20217 w 51323"/>
                <a:gd name="connsiteY213" fmla="*/ 4706 h 51323"/>
                <a:gd name="connsiteX214" fmla="*/ 20062 w 51323"/>
                <a:gd name="connsiteY214" fmla="*/ 4706 h 51323"/>
                <a:gd name="connsiteX215" fmla="*/ 20337 w 51323"/>
                <a:gd name="connsiteY215" fmla="*/ 4706 h 51323"/>
                <a:gd name="connsiteX216" fmla="*/ 20234 w 51323"/>
                <a:gd name="connsiteY216" fmla="*/ 4706 h 51323"/>
                <a:gd name="connsiteX217" fmla="*/ 20234 w 51323"/>
                <a:gd name="connsiteY217" fmla="*/ 4706 h 51323"/>
                <a:gd name="connsiteX218" fmla="*/ 20423 w 51323"/>
                <a:gd name="connsiteY218" fmla="*/ 4706 h 51323"/>
                <a:gd name="connsiteX219" fmla="*/ 20423 w 51323"/>
                <a:gd name="connsiteY219" fmla="*/ 4706 h 51323"/>
                <a:gd name="connsiteX220" fmla="*/ 21711 w 51323"/>
                <a:gd name="connsiteY220" fmla="*/ 4414 h 51323"/>
                <a:gd name="connsiteX221" fmla="*/ 21711 w 51323"/>
                <a:gd name="connsiteY221" fmla="*/ 4414 h 51323"/>
                <a:gd name="connsiteX222" fmla="*/ 22038 w 51323"/>
                <a:gd name="connsiteY222" fmla="*/ 4414 h 51323"/>
                <a:gd name="connsiteX223" fmla="*/ 21814 w 51323"/>
                <a:gd name="connsiteY223" fmla="*/ 4414 h 51323"/>
                <a:gd name="connsiteX224" fmla="*/ 21814 w 51323"/>
                <a:gd name="connsiteY224" fmla="*/ 4414 h 51323"/>
                <a:gd name="connsiteX225" fmla="*/ 22415 w 51323"/>
                <a:gd name="connsiteY225" fmla="*/ 4414 h 51323"/>
                <a:gd name="connsiteX226" fmla="*/ 22415 w 51323"/>
                <a:gd name="connsiteY226" fmla="*/ 4414 h 51323"/>
                <a:gd name="connsiteX227" fmla="*/ 22106 w 51323"/>
                <a:gd name="connsiteY227" fmla="*/ 4414 h 51323"/>
                <a:gd name="connsiteX228" fmla="*/ 22398 w 51323"/>
                <a:gd name="connsiteY228" fmla="*/ 4414 h 51323"/>
                <a:gd name="connsiteX229" fmla="*/ 22398 w 51323"/>
                <a:gd name="connsiteY229" fmla="*/ 4414 h 51323"/>
                <a:gd name="connsiteX230" fmla="*/ 22690 w 51323"/>
                <a:gd name="connsiteY230" fmla="*/ 4414 h 51323"/>
                <a:gd name="connsiteX231" fmla="*/ 22587 w 51323"/>
                <a:gd name="connsiteY231" fmla="*/ 4414 h 51323"/>
                <a:gd name="connsiteX232" fmla="*/ 22484 w 51323"/>
                <a:gd name="connsiteY232" fmla="*/ 4414 h 51323"/>
                <a:gd name="connsiteX233" fmla="*/ 22725 w 51323"/>
                <a:gd name="connsiteY233" fmla="*/ 4414 h 51323"/>
                <a:gd name="connsiteX234" fmla="*/ 22347 w 51323"/>
                <a:gd name="connsiteY234" fmla="*/ 4414 h 51323"/>
                <a:gd name="connsiteX235" fmla="*/ 22244 w 51323"/>
                <a:gd name="connsiteY235" fmla="*/ 4414 h 51323"/>
                <a:gd name="connsiteX236" fmla="*/ 22055 w 51323"/>
                <a:gd name="connsiteY236" fmla="*/ 4414 h 51323"/>
                <a:gd name="connsiteX237" fmla="*/ 22415 w 51323"/>
                <a:gd name="connsiteY237" fmla="*/ 4414 h 51323"/>
                <a:gd name="connsiteX238" fmla="*/ 22020 w 51323"/>
                <a:gd name="connsiteY238" fmla="*/ 4414 h 51323"/>
                <a:gd name="connsiteX239" fmla="*/ 22020 w 51323"/>
                <a:gd name="connsiteY239" fmla="*/ 4414 h 51323"/>
                <a:gd name="connsiteX240" fmla="*/ 21608 w 51323"/>
                <a:gd name="connsiteY240" fmla="*/ 4414 h 51323"/>
                <a:gd name="connsiteX241" fmla="*/ 21608 w 51323"/>
                <a:gd name="connsiteY241" fmla="*/ 4414 h 51323"/>
                <a:gd name="connsiteX242" fmla="*/ 21213 w 51323"/>
                <a:gd name="connsiteY242" fmla="*/ 4500 h 51323"/>
                <a:gd name="connsiteX243" fmla="*/ 21385 w 51323"/>
                <a:gd name="connsiteY243" fmla="*/ 4500 h 51323"/>
                <a:gd name="connsiteX244" fmla="*/ 21385 w 51323"/>
                <a:gd name="connsiteY244" fmla="*/ 4500 h 51323"/>
                <a:gd name="connsiteX245" fmla="*/ 20973 w 51323"/>
                <a:gd name="connsiteY245" fmla="*/ 4586 h 51323"/>
                <a:gd name="connsiteX246" fmla="*/ 21144 w 51323"/>
                <a:gd name="connsiteY246" fmla="*/ 4586 h 51323"/>
                <a:gd name="connsiteX247" fmla="*/ 20955 w 51323"/>
                <a:gd name="connsiteY247" fmla="*/ 4586 h 51323"/>
                <a:gd name="connsiteX248" fmla="*/ 20955 w 51323"/>
                <a:gd name="connsiteY248" fmla="*/ 4586 h 51323"/>
                <a:gd name="connsiteX249" fmla="*/ 20835 w 51323"/>
                <a:gd name="connsiteY249" fmla="*/ 4586 h 51323"/>
                <a:gd name="connsiteX250" fmla="*/ 20835 w 51323"/>
                <a:gd name="connsiteY250" fmla="*/ 4586 h 51323"/>
                <a:gd name="connsiteX251" fmla="*/ 20835 w 51323"/>
                <a:gd name="connsiteY251" fmla="*/ 4586 h 51323"/>
                <a:gd name="connsiteX252" fmla="*/ 20835 w 51323"/>
                <a:gd name="connsiteY252" fmla="*/ 4586 h 51323"/>
                <a:gd name="connsiteX253" fmla="*/ 20835 w 51323"/>
                <a:gd name="connsiteY253" fmla="*/ 4586 h 51323"/>
                <a:gd name="connsiteX254" fmla="*/ 20663 w 51323"/>
                <a:gd name="connsiteY254" fmla="*/ 4586 h 51323"/>
                <a:gd name="connsiteX255" fmla="*/ 20663 w 51323"/>
                <a:gd name="connsiteY255" fmla="*/ 4586 h 51323"/>
                <a:gd name="connsiteX256" fmla="*/ 20663 w 51323"/>
                <a:gd name="connsiteY256" fmla="*/ 4586 h 51323"/>
                <a:gd name="connsiteX257" fmla="*/ 20663 w 51323"/>
                <a:gd name="connsiteY257" fmla="*/ 4586 h 51323"/>
                <a:gd name="connsiteX258" fmla="*/ 20560 w 51323"/>
                <a:gd name="connsiteY258" fmla="*/ 4586 h 51323"/>
                <a:gd name="connsiteX259" fmla="*/ 20560 w 51323"/>
                <a:gd name="connsiteY259" fmla="*/ 4586 h 51323"/>
                <a:gd name="connsiteX260" fmla="*/ 20114 w 51323"/>
                <a:gd name="connsiteY260" fmla="*/ 4706 h 51323"/>
                <a:gd name="connsiteX261" fmla="*/ 20114 w 51323"/>
                <a:gd name="connsiteY261" fmla="*/ 4706 h 51323"/>
                <a:gd name="connsiteX262" fmla="*/ 19787 w 51323"/>
                <a:gd name="connsiteY262" fmla="*/ 4827 h 51323"/>
                <a:gd name="connsiteX263" fmla="*/ 19787 w 51323"/>
                <a:gd name="connsiteY263" fmla="*/ 4827 h 51323"/>
                <a:gd name="connsiteX264" fmla="*/ 19392 w 51323"/>
                <a:gd name="connsiteY264" fmla="*/ 4947 h 51323"/>
                <a:gd name="connsiteX265" fmla="*/ 19392 w 51323"/>
                <a:gd name="connsiteY265" fmla="*/ 4947 h 51323"/>
                <a:gd name="connsiteX266" fmla="*/ 19100 w 51323"/>
                <a:gd name="connsiteY266" fmla="*/ 5153 h 51323"/>
                <a:gd name="connsiteX267" fmla="*/ 19100 w 51323"/>
                <a:gd name="connsiteY267" fmla="*/ 5153 h 51323"/>
                <a:gd name="connsiteX268" fmla="*/ 18997 w 51323"/>
                <a:gd name="connsiteY268" fmla="*/ 5153 h 51323"/>
                <a:gd name="connsiteX269" fmla="*/ 18997 w 51323"/>
                <a:gd name="connsiteY269" fmla="*/ 5153 h 51323"/>
                <a:gd name="connsiteX270" fmla="*/ 18430 w 51323"/>
                <a:gd name="connsiteY270" fmla="*/ 5359 h 51323"/>
                <a:gd name="connsiteX271" fmla="*/ 18568 w 51323"/>
                <a:gd name="connsiteY271" fmla="*/ 5359 h 51323"/>
                <a:gd name="connsiteX272" fmla="*/ 18568 w 51323"/>
                <a:gd name="connsiteY272" fmla="*/ 5359 h 51323"/>
                <a:gd name="connsiteX273" fmla="*/ 19169 w 51323"/>
                <a:gd name="connsiteY273" fmla="*/ 5187 h 51323"/>
                <a:gd name="connsiteX274" fmla="*/ 19169 w 51323"/>
                <a:gd name="connsiteY274" fmla="*/ 5187 h 51323"/>
                <a:gd name="connsiteX275" fmla="*/ 19341 w 51323"/>
                <a:gd name="connsiteY275" fmla="*/ 5187 h 51323"/>
                <a:gd name="connsiteX276" fmla="*/ 19461 w 51323"/>
                <a:gd name="connsiteY276" fmla="*/ 5187 h 51323"/>
                <a:gd name="connsiteX277" fmla="*/ 19186 w 51323"/>
                <a:gd name="connsiteY277" fmla="*/ 5187 h 51323"/>
                <a:gd name="connsiteX278" fmla="*/ 19186 w 51323"/>
                <a:gd name="connsiteY278" fmla="*/ 5187 h 51323"/>
                <a:gd name="connsiteX279" fmla="*/ 19032 w 51323"/>
                <a:gd name="connsiteY279" fmla="*/ 5187 h 51323"/>
                <a:gd name="connsiteX280" fmla="*/ 19032 w 51323"/>
                <a:gd name="connsiteY280" fmla="*/ 5187 h 51323"/>
                <a:gd name="connsiteX281" fmla="*/ 18911 w 51323"/>
                <a:gd name="connsiteY281" fmla="*/ 5187 h 51323"/>
                <a:gd name="connsiteX282" fmla="*/ 18911 w 51323"/>
                <a:gd name="connsiteY282" fmla="*/ 5187 h 51323"/>
                <a:gd name="connsiteX283" fmla="*/ 18740 w 51323"/>
                <a:gd name="connsiteY283" fmla="*/ 5187 h 51323"/>
                <a:gd name="connsiteX284" fmla="*/ 18740 w 51323"/>
                <a:gd name="connsiteY284" fmla="*/ 5187 h 51323"/>
                <a:gd name="connsiteX285" fmla="*/ 18894 w 51323"/>
                <a:gd name="connsiteY285" fmla="*/ 5187 h 51323"/>
                <a:gd name="connsiteX286" fmla="*/ 18894 w 51323"/>
                <a:gd name="connsiteY286" fmla="*/ 5187 h 51323"/>
                <a:gd name="connsiteX287" fmla="*/ 19049 w 51323"/>
                <a:gd name="connsiteY287" fmla="*/ 5187 h 51323"/>
                <a:gd name="connsiteX288" fmla="*/ 19049 w 51323"/>
                <a:gd name="connsiteY288" fmla="*/ 5187 h 51323"/>
                <a:gd name="connsiteX289" fmla="*/ 18860 w 51323"/>
                <a:gd name="connsiteY289" fmla="*/ 5187 h 51323"/>
                <a:gd name="connsiteX290" fmla="*/ 19032 w 51323"/>
                <a:gd name="connsiteY290" fmla="*/ 5187 h 51323"/>
                <a:gd name="connsiteX291" fmla="*/ 19186 w 51323"/>
                <a:gd name="connsiteY291" fmla="*/ 5187 h 51323"/>
                <a:gd name="connsiteX292" fmla="*/ 19289 w 51323"/>
                <a:gd name="connsiteY292" fmla="*/ 5187 h 51323"/>
                <a:gd name="connsiteX293" fmla="*/ 19650 w 51323"/>
                <a:gd name="connsiteY293" fmla="*/ 5084 h 51323"/>
                <a:gd name="connsiteX294" fmla="*/ 18482 w 51323"/>
                <a:gd name="connsiteY294" fmla="*/ 5497 h 51323"/>
                <a:gd name="connsiteX295" fmla="*/ 18654 w 51323"/>
                <a:gd name="connsiteY295" fmla="*/ 5497 h 51323"/>
                <a:gd name="connsiteX296" fmla="*/ 18654 w 51323"/>
                <a:gd name="connsiteY296" fmla="*/ 5497 h 51323"/>
                <a:gd name="connsiteX297" fmla="*/ 18740 w 51323"/>
                <a:gd name="connsiteY297" fmla="*/ 5497 h 51323"/>
                <a:gd name="connsiteX298" fmla="*/ 18894 w 51323"/>
                <a:gd name="connsiteY298" fmla="*/ 5497 h 51323"/>
                <a:gd name="connsiteX299" fmla="*/ 18894 w 51323"/>
                <a:gd name="connsiteY299" fmla="*/ 5497 h 51323"/>
                <a:gd name="connsiteX300" fmla="*/ 19032 w 51323"/>
                <a:gd name="connsiteY300" fmla="*/ 5497 h 51323"/>
                <a:gd name="connsiteX301" fmla="*/ 18722 w 51323"/>
                <a:gd name="connsiteY301" fmla="*/ 5617 h 51323"/>
                <a:gd name="connsiteX302" fmla="*/ 18722 w 51323"/>
                <a:gd name="connsiteY302" fmla="*/ 5617 h 51323"/>
                <a:gd name="connsiteX303" fmla="*/ 18585 w 51323"/>
                <a:gd name="connsiteY303" fmla="*/ 5617 h 51323"/>
                <a:gd name="connsiteX304" fmla="*/ 18585 w 51323"/>
                <a:gd name="connsiteY304" fmla="*/ 5617 h 51323"/>
                <a:gd name="connsiteX305" fmla="*/ 18413 w 51323"/>
                <a:gd name="connsiteY305" fmla="*/ 5617 h 51323"/>
                <a:gd name="connsiteX306" fmla="*/ 18688 w 51323"/>
                <a:gd name="connsiteY306" fmla="*/ 5617 h 51323"/>
                <a:gd name="connsiteX307" fmla="*/ 17743 w 51323"/>
                <a:gd name="connsiteY307" fmla="*/ 6098 h 51323"/>
                <a:gd name="connsiteX308" fmla="*/ 17743 w 51323"/>
                <a:gd name="connsiteY308" fmla="*/ 6098 h 51323"/>
                <a:gd name="connsiteX309" fmla="*/ 17554 w 51323"/>
                <a:gd name="connsiteY309" fmla="*/ 6201 h 51323"/>
                <a:gd name="connsiteX310" fmla="*/ 17743 w 51323"/>
                <a:gd name="connsiteY310" fmla="*/ 6201 h 51323"/>
                <a:gd name="connsiteX311" fmla="*/ 17743 w 51323"/>
                <a:gd name="connsiteY311" fmla="*/ 6201 h 51323"/>
                <a:gd name="connsiteX312" fmla="*/ 17743 w 51323"/>
                <a:gd name="connsiteY312" fmla="*/ 6201 h 51323"/>
                <a:gd name="connsiteX313" fmla="*/ 17159 w 51323"/>
                <a:gd name="connsiteY313" fmla="*/ 6476 h 51323"/>
                <a:gd name="connsiteX314" fmla="*/ 17159 w 51323"/>
                <a:gd name="connsiteY314" fmla="*/ 6476 h 51323"/>
                <a:gd name="connsiteX315" fmla="*/ 17039 w 51323"/>
                <a:gd name="connsiteY315" fmla="*/ 6476 h 51323"/>
                <a:gd name="connsiteX316" fmla="*/ 17039 w 51323"/>
                <a:gd name="connsiteY316" fmla="*/ 6476 h 51323"/>
                <a:gd name="connsiteX317" fmla="*/ 16867 w 51323"/>
                <a:gd name="connsiteY317" fmla="*/ 6579 h 51323"/>
                <a:gd name="connsiteX318" fmla="*/ 16867 w 51323"/>
                <a:gd name="connsiteY318" fmla="*/ 6579 h 51323"/>
                <a:gd name="connsiteX319" fmla="*/ 16730 w 51323"/>
                <a:gd name="connsiteY319" fmla="*/ 6716 h 51323"/>
                <a:gd name="connsiteX320" fmla="*/ 16730 w 51323"/>
                <a:gd name="connsiteY320" fmla="*/ 6716 h 51323"/>
                <a:gd name="connsiteX321" fmla="*/ 16730 w 51323"/>
                <a:gd name="connsiteY321" fmla="*/ 6716 h 51323"/>
                <a:gd name="connsiteX322" fmla="*/ 16730 w 51323"/>
                <a:gd name="connsiteY322" fmla="*/ 6716 h 51323"/>
                <a:gd name="connsiteX323" fmla="*/ 16730 w 51323"/>
                <a:gd name="connsiteY323" fmla="*/ 6716 h 51323"/>
                <a:gd name="connsiteX324" fmla="*/ 16885 w 51323"/>
                <a:gd name="connsiteY324" fmla="*/ 6716 h 51323"/>
                <a:gd name="connsiteX325" fmla="*/ 16627 w 51323"/>
                <a:gd name="connsiteY325" fmla="*/ 6853 h 51323"/>
                <a:gd name="connsiteX326" fmla="*/ 16627 w 51323"/>
                <a:gd name="connsiteY326" fmla="*/ 6853 h 51323"/>
                <a:gd name="connsiteX327" fmla="*/ 16386 w 51323"/>
                <a:gd name="connsiteY327" fmla="*/ 6991 h 51323"/>
                <a:gd name="connsiteX328" fmla="*/ 16558 w 51323"/>
                <a:gd name="connsiteY328" fmla="*/ 6991 h 51323"/>
                <a:gd name="connsiteX329" fmla="*/ 16077 w 51323"/>
                <a:gd name="connsiteY329" fmla="*/ 7266 h 51323"/>
                <a:gd name="connsiteX330" fmla="*/ 16077 w 51323"/>
                <a:gd name="connsiteY330" fmla="*/ 7266 h 51323"/>
                <a:gd name="connsiteX331" fmla="*/ 16077 w 51323"/>
                <a:gd name="connsiteY331" fmla="*/ 7266 h 51323"/>
                <a:gd name="connsiteX332" fmla="*/ 16833 w 51323"/>
                <a:gd name="connsiteY332" fmla="*/ 6888 h 51323"/>
                <a:gd name="connsiteX333" fmla="*/ 16833 w 51323"/>
                <a:gd name="connsiteY333" fmla="*/ 6888 h 51323"/>
                <a:gd name="connsiteX334" fmla="*/ 16833 w 51323"/>
                <a:gd name="connsiteY334" fmla="*/ 6888 h 51323"/>
                <a:gd name="connsiteX335" fmla="*/ 16833 w 51323"/>
                <a:gd name="connsiteY335" fmla="*/ 6888 h 51323"/>
                <a:gd name="connsiteX336" fmla="*/ 16936 w 51323"/>
                <a:gd name="connsiteY336" fmla="*/ 6888 h 51323"/>
                <a:gd name="connsiteX337" fmla="*/ 16833 w 51323"/>
                <a:gd name="connsiteY337" fmla="*/ 6888 h 51323"/>
                <a:gd name="connsiteX338" fmla="*/ 17056 w 51323"/>
                <a:gd name="connsiteY338" fmla="*/ 6785 h 51323"/>
                <a:gd name="connsiteX339" fmla="*/ 17056 w 51323"/>
                <a:gd name="connsiteY339" fmla="*/ 6785 h 51323"/>
                <a:gd name="connsiteX340" fmla="*/ 17159 w 51323"/>
                <a:gd name="connsiteY340" fmla="*/ 6785 h 51323"/>
                <a:gd name="connsiteX341" fmla="*/ 17039 w 51323"/>
                <a:gd name="connsiteY341" fmla="*/ 6785 h 51323"/>
                <a:gd name="connsiteX342" fmla="*/ 17142 w 51323"/>
                <a:gd name="connsiteY342" fmla="*/ 6785 h 51323"/>
                <a:gd name="connsiteX343" fmla="*/ 17022 w 51323"/>
                <a:gd name="connsiteY343" fmla="*/ 6785 h 51323"/>
                <a:gd name="connsiteX344" fmla="*/ 17022 w 51323"/>
                <a:gd name="connsiteY344" fmla="*/ 6785 h 51323"/>
                <a:gd name="connsiteX345" fmla="*/ 16885 w 51323"/>
                <a:gd name="connsiteY345" fmla="*/ 6785 h 51323"/>
                <a:gd name="connsiteX346" fmla="*/ 17005 w 51323"/>
                <a:gd name="connsiteY346" fmla="*/ 6785 h 51323"/>
                <a:gd name="connsiteX347" fmla="*/ 17314 w 51323"/>
                <a:gd name="connsiteY347" fmla="*/ 6785 h 51323"/>
                <a:gd name="connsiteX348" fmla="*/ 17314 w 51323"/>
                <a:gd name="connsiteY348" fmla="*/ 6785 h 51323"/>
                <a:gd name="connsiteX349" fmla="*/ 16696 w 51323"/>
                <a:gd name="connsiteY349" fmla="*/ 7145 h 51323"/>
                <a:gd name="connsiteX350" fmla="*/ 16696 w 51323"/>
                <a:gd name="connsiteY350" fmla="*/ 7145 h 51323"/>
                <a:gd name="connsiteX351" fmla="*/ 16696 w 51323"/>
                <a:gd name="connsiteY351" fmla="*/ 7145 h 51323"/>
                <a:gd name="connsiteX352" fmla="*/ 16696 w 51323"/>
                <a:gd name="connsiteY352" fmla="*/ 7145 h 51323"/>
                <a:gd name="connsiteX353" fmla="*/ 16696 w 51323"/>
                <a:gd name="connsiteY353" fmla="*/ 7145 h 51323"/>
                <a:gd name="connsiteX354" fmla="*/ 16696 w 51323"/>
                <a:gd name="connsiteY354" fmla="*/ 7145 h 51323"/>
                <a:gd name="connsiteX355" fmla="*/ 16696 w 51323"/>
                <a:gd name="connsiteY355" fmla="*/ 7145 h 51323"/>
                <a:gd name="connsiteX356" fmla="*/ 16455 w 51323"/>
                <a:gd name="connsiteY356" fmla="*/ 7300 h 51323"/>
                <a:gd name="connsiteX357" fmla="*/ 16455 w 51323"/>
                <a:gd name="connsiteY357" fmla="*/ 7300 h 51323"/>
                <a:gd name="connsiteX358" fmla="*/ 16455 w 51323"/>
                <a:gd name="connsiteY358" fmla="*/ 7386 h 51323"/>
                <a:gd name="connsiteX359" fmla="*/ 16610 w 51323"/>
                <a:gd name="connsiteY359" fmla="*/ 7386 h 51323"/>
                <a:gd name="connsiteX360" fmla="*/ 16610 w 51323"/>
                <a:gd name="connsiteY360" fmla="*/ 7386 h 51323"/>
                <a:gd name="connsiteX361" fmla="*/ 16610 w 51323"/>
                <a:gd name="connsiteY361" fmla="*/ 7489 h 51323"/>
                <a:gd name="connsiteX362" fmla="*/ 16610 w 51323"/>
                <a:gd name="connsiteY362" fmla="*/ 7489 h 51323"/>
                <a:gd name="connsiteX363" fmla="*/ 16610 w 51323"/>
                <a:gd name="connsiteY363" fmla="*/ 7489 h 51323"/>
                <a:gd name="connsiteX364" fmla="*/ 16610 w 51323"/>
                <a:gd name="connsiteY364" fmla="*/ 7592 h 51323"/>
                <a:gd name="connsiteX365" fmla="*/ 16970 w 51323"/>
                <a:gd name="connsiteY365" fmla="*/ 7334 h 51323"/>
                <a:gd name="connsiteX366" fmla="*/ 16970 w 51323"/>
                <a:gd name="connsiteY366" fmla="*/ 7334 h 51323"/>
                <a:gd name="connsiteX367" fmla="*/ 17108 w 51323"/>
                <a:gd name="connsiteY367" fmla="*/ 7334 h 51323"/>
                <a:gd name="connsiteX368" fmla="*/ 17245 w 51323"/>
                <a:gd name="connsiteY368" fmla="*/ 7334 h 51323"/>
                <a:gd name="connsiteX369" fmla="*/ 17142 w 51323"/>
                <a:gd name="connsiteY369" fmla="*/ 7334 h 51323"/>
                <a:gd name="connsiteX370" fmla="*/ 17142 w 51323"/>
                <a:gd name="connsiteY370" fmla="*/ 7334 h 51323"/>
                <a:gd name="connsiteX371" fmla="*/ 16988 w 51323"/>
                <a:gd name="connsiteY371" fmla="*/ 7437 h 51323"/>
                <a:gd name="connsiteX372" fmla="*/ 16988 w 51323"/>
                <a:gd name="connsiteY372" fmla="*/ 7437 h 51323"/>
                <a:gd name="connsiteX373" fmla="*/ 16867 w 51323"/>
                <a:gd name="connsiteY373" fmla="*/ 7437 h 51323"/>
                <a:gd name="connsiteX374" fmla="*/ 16610 w 51323"/>
                <a:gd name="connsiteY374" fmla="*/ 7575 h 51323"/>
                <a:gd name="connsiteX375" fmla="*/ 16610 w 51323"/>
                <a:gd name="connsiteY375" fmla="*/ 7575 h 51323"/>
                <a:gd name="connsiteX376" fmla="*/ 16421 w 51323"/>
                <a:gd name="connsiteY376" fmla="*/ 7678 h 51323"/>
                <a:gd name="connsiteX377" fmla="*/ 16421 w 51323"/>
                <a:gd name="connsiteY377" fmla="*/ 7678 h 51323"/>
                <a:gd name="connsiteX378" fmla="*/ 16283 w 51323"/>
                <a:gd name="connsiteY378" fmla="*/ 7678 h 51323"/>
                <a:gd name="connsiteX379" fmla="*/ 16283 w 51323"/>
                <a:gd name="connsiteY379" fmla="*/ 7678 h 51323"/>
                <a:gd name="connsiteX380" fmla="*/ 16283 w 51323"/>
                <a:gd name="connsiteY380" fmla="*/ 7678 h 51323"/>
                <a:gd name="connsiteX381" fmla="*/ 16129 w 51323"/>
                <a:gd name="connsiteY381" fmla="*/ 7678 h 51323"/>
                <a:gd name="connsiteX382" fmla="*/ 16129 w 51323"/>
                <a:gd name="connsiteY382" fmla="*/ 7678 h 51323"/>
                <a:gd name="connsiteX383" fmla="*/ 16129 w 51323"/>
                <a:gd name="connsiteY383" fmla="*/ 7678 h 51323"/>
                <a:gd name="connsiteX384" fmla="*/ 16129 w 51323"/>
                <a:gd name="connsiteY384" fmla="*/ 7678 h 51323"/>
                <a:gd name="connsiteX385" fmla="*/ 15820 w 51323"/>
                <a:gd name="connsiteY385" fmla="*/ 7867 h 51323"/>
                <a:gd name="connsiteX386" fmla="*/ 16043 w 51323"/>
                <a:gd name="connsiteY386" fmla="*/ 7747 h 51323"/>
                <a:gd name="connsiteX387" fmla="*/ 16043 w 51323"/>
                <a:gd name="connsiteY387" fmla="*/ 7747 h 51323"/>
                <a:gd name="connsiteX388" fmla="*/ 16318 w 51323"/>
                <a:gd name="connsiteY388" fmla="*/ 7644 h 51323"/>
                <a:gd name="connsiteX389" fmla="*/ 16198 w 51323"/>
                <a:gd name="connsiteY389" fmla="*/ 7644 h 51323"/>
                <a:gd name="connsiteX390" fmla="*/ 16747 w 51323"/>
                <a:gd name="connsiteY390" fmla="*/ 7352 h 51323"/>
                <a:gd name="connsiteX391" fmla="*/ 16747 w 51323"/>
                <a:gd name="connsiteY391" fmla="*/ 7352 h 51323"/>
                <a:gd name="connsiteX392" fmla="*/ 16747 w 51323"/>
                <a:gd name="connsiteY392" fmla="*/ 7352 h 51323"/>
                <a:gd name="connsiteX393" fmla="*/ 17400 w 51323"/>
                <a:gd name="connsiteY393" fmla="*/ 7077 h 51323"/>
                <a:gd name="connsiteX394" fmla="*/ 17262 w 51323"/>
                <a:gd name="connsiteY394" fmla="*/ 7077 h 51323"/>
                <a:gd name="connsiteX395" fmla="*/ 17262 w 51323"/>
                <a:gd name="connsiteY395" fmla="*/ 7077 h 51323"/>
                <a:gd name="connsiteX396" fmla="*/ 17520 w 51323"/>
                <a:gd name="connsiteY396" fmla="*/ 6991 h 51323"/>
                <a:gd name="connsiteX397" fmla="*/ 17846 w 51323"/>
                <a:gd name="connsiteY397" fmla="*/ 6768 h 51323"/>
                <a:gd name="connsiteX398" fmla="*/ 17846 w 51323"/>
                <a:gd name="connsiteY398" fmla="*/ 6768 h 51323"/>
                <a:gd name="connsiteX399" fmla="*/ 17846 w 51323"/>
                <a:gd name="connsiteY399" fmla="*/ 6768 h 51323"/>
                <a:gd name="connsiteX400" fmla="*/ 18482 w 51323"/>
                <a:gd name="connsiteY400" fmla="*/ 6476 h 51323"/>
                <a:gd name="connsiteX401" fmla="*/ 18482 w 51323"/>
                <a:gd name="connsiteY401" fmla="*/ 6476 h 51323"/>
                <a:gd name="connsiteX402" fmla="*/ 19066 w 51323"/>
                <a:gd name="connsiteY402" fmla="*/ 6235 h 51323"/>
                <a:gd name="connsiteX403" fmla="*/ 18911 w 51323"/>
                <a:gd name="connsiteY403" fmla="*/ 6321 h 51323"/>
                <a:gd name="connsiteX404" fmla="*/ 19427 w 51323"/>
                <a:gd name="connsiteY404" fmla="*/ 6115 h 51323"/>
                <a:gd name="connsiteX405" fmla="*/ 19238 w 51323"/>
                <a:gd name="connsiteY405" fmla="*/ 6252 h 51323"/>
                <a:gd name="connsiteX406" fmla="*/ 20303 w 51323"/>
                <a:gd name="connsiteY406" fmla="*/ 5909 h 51323"/>
                <a:gd name="connsiteX407" fmla="*/ 21024 w 51323"/>
                <a:gd name="connsiteY407" fmla="*/ 5651 h 51323"/>
                <a:gd name="connsiteX408" fmla="*/ 20303 w 51323"/>
                <a:gd name="connsiteY408" fmla="*/ 6149 h 51323"/>
                <a:gd name="connsiteX409" fmla="*/ 20303 w 51323"/>
                <a:gd name="connsiteY409" fmla="*/ 6149 h 51323"/>
                <a:gd name="connsiteX410" fmla="*/ 20406 w 51323"/>
                <a:gd name="connsiteY410" fmla="*/ 6149 h 51323"/>
                <a:gd name="connsiteX411" fmla="*/ 20492 w 51323"/>
                <a:gd name="connsiteY411" fmla="*/ 6235 h 51323"/>
                <a:gd name="connsiteX412" fmla="*/ 20354 w 51323"/>
                <a:gd name="connsiteY412" fmla="*/ 6235 h 51323"/>
                <a:gd name="connsiteX413" fmla="*/ 20165 w 51323"/>
                <a:gd name="connsiteY413" fmla="*/ 6355 h 51323"/>
                <a:gd name="connsiteX414" fmla="*/ 20337 w 51323"/>
                <a:gd name="connsiteY414" fmla="*/ 6355 h 51323"/>
                <a:gd name="connsiteX415" fmla="*/ 19856 w 51323"/>
                <a:gd name="connsiteY415" fmla="*/ 6716 h 51323"/>
                <a:gd name="connsiteX416" fmla="*/ 20097 w 51323"/>
                <a:gd name="connsiteY416" fmla="*/ 6716 h 51323"/>
                <a:gd name="connsiteX417" fmla="*/ 19667 w 51323"/>
                <a:gd name="connsiteY417" fmla="*/ 6939 h 51323"/>
                <a:gd name="connsiteX418" fmla="*/ 19495 w 51323"/>
                <a:gd name="connsiteY418" fmla="*/ 7145 h 51323"/>
                <a:gd name="connsiteX419" fmla="*/ 19358 w 51323"/>
                <a:gd name="connsiteY419" fmla="*/ 7266 h 51323"/>
                <a:gd name="connsiteX420" fmla="*/ 19358 w 51323"/>
                <a:gd name="connsiteY420" fmla="*/ 7352 h 51323"/>
                <a:gd name="connsiteX421" fmla="*/ 19358 w 51323"/>
                <a:gd name="connsiteY421" fmla="*/ 7523 h 51323"/>
                <a:gd name="connsiteX422" fmla="*/ 19049 w 51323"/>
                <a:gd name="connsiteY422" fmla="*/ 7626 h 51323"/>
                <a:gd name="connsiteX423" fmla="*/ 18860 w 51323"/>
                <a:gd name="connsiteY423" fmla="*/ 7918 h 51323"/>
                <a:gd name="connsiteX424" fmla="*/ 18860 w 51323"/>
                <a:gd name="connsiteY424" fmla="*/ 8039 h 51323"/>
                <a:gd name="connsiteX425" fmla="*/ 18705 w 51323"/>
                <a:gd name="connsiteY425" fmla="*/ 8399 h 51323"/>
                <a:gd name="connsiteX426" fmla="*/ 18551 w 51323"/>
                <a:gd name="connsiteY426" fmla="*/ 8588 h 51323"/>
                <a:gd name="connsiteX427" fmla="*/ 18396 w 51323"/>
                <a:gd name="connsiteY427" fmla="*/ 8829 h 51323"/>
                <a:gd name="connsiteX428" fmla="*/ 18190 w 51323"/>
                <a:gd name="connsiteY428" fmla="*/ 8966 h 51323"/>
                <a:gd name="connsiteX429" fmla="*/ 18190 w 51323"/>
                <a:gd name="connsiteY429" fmla="*/ 8966 h 51323"/>
                <a:gd name="connsiteX430" fmla="*/ 17846 w 51323"/>
                <a:gd name="connsiteY430" fmla="*/ 9155 h 51323"/>
                <a:gd name="connsiteX431" fmla="*/ 18224 w 51323"/>
                <a:gd name="connsiteY431" fmla="*/ 8605 h 51323"/>
                <a:gd name="connsiteX432" fmla="*/ 18224 w 51323"/>
                <a:gd name="connsiteY432" fmla="*/ 8434 h 51323"/>
                <a:gd name="connsiteX433" fmla="*/ 18053 w 51323"/>
                <a:gd name="connsiteY433" fmla="*/ 8434 h 51323"/>
                <a:gd name="connsiteX434" fmla="*/ 17486 w 51323"/>
                <a:gd name="connsiteY434" fmla="*/ 9155 h 51323"/>
                <a:gd name="connsiteX435" fmla="*/ 16747 w 51323"/>
                <a:gd name="connsiteY435" fmla="*/ 9842 h 51323"/>
                <a:gd name="connsiteX436" fmla="*/ 16747 w 51323"/>
                <a:gd name="connsiteY436" fmla="*/ 9396 h 51323"/>
                <a:gd name="connsiteX437" fmla="*/ 16524 w 51323"/>
                <a:gd name="connsiteY437" fmla="*/ 10306 h 51323"/>
                <a:gd name="connsiteX438" fmla="*/ 16799 w 51323"/>
                <a:gd name="connsiteY438" fmla="*/ 9069 h 51323"/>
                <a:gd name="connsiteX439" fmla="*/ 16558 w 51323"/>
                <a:gd name="connsiteY439" fmla="*/ 9069 h 51323"/>
                <a:gd name="connsiteX440" fmla="*/ 16301 w 51323"/>
                <a:gd name="connsiteY440" fmla="*/ 9069 h 51323"/>
                <a:gd name="connsiteX441" fmla="*/ 16850 w 51323"/>
                <a:gd name="connsiteY441" fmla="*/ 8794 h 51323"/>
                <a:gd name="connsiteX442" fmla="*/ 19530 w 51323"/>
                <a:gd name="connsiteY442" fmla="*/ 6733 h 51323"/>
                <a:gd name="connsiteX443" fmla="*/ 18980 w 51323"/>
                <a:gd name="connsiteY443" fmla="*/ 6733 h 51323"/>
                <a:gd name="connsiteX444" fmla="*/ 18980 w 51323"/>
                <a:gd name="connsiteY444" fmla="*/ 6561 h 51323"/>
                <a:gd name="connsiteX445" fmla="*/ 18980 w 51323"/>
                <a:gd name="connsiteY445" fmla="*/ 6373 h 51323"/>
                <a:gd name="connsiteX446" fmla="*/ 19083 w 51323"/>
                <a:gd name="connsiteY446" fmla="*/ 6373 h 51323"/>
                <a:gd name="connsiteX447" fmla="*/ 18929 w 51323"/>
                <a:gd name="connsiteY447" fmla="*/ 6458 h 51323"/>
                <a:gd name="connsiteX448" fmla="*/ 18173 w 51323"/>
                <a:gd name="connsiteY448" fmla="*/ 6871 h 51323"/>
                <a:gd name="connsiteX449" fmla="*/ 18173 w 51323"/>
                <a:gd name="connsiteY449" fmla="*/ 6871 h 51323"/>
                <a:gd name="connsiteX450" fmla="*/ 18293 w 51323"/>
                <a:gd name="connsiteY450" fmla="*/ 6871 h 51323"/>
                <a:gd name="connsiteX451" fmla="*/ 18242 w 51323"/>
                <a:gd name="connsiteY451" fmla="*/ 6871 h 51323"/>
                <a:gd name="connsiteX452" fmla="*/ 18242 w 51323"/>
                <a:gd name="connsiteY452" fmla="*/ 6871 h 51323"/>
                <a:gd name="connsiteX453" fmla="*/ 17898 w 51323"/>
                <a:gd name="connsiteY453" fmla="*/ 7025 h 51323"/>
                <a:gd name="connsiteX454" fmla="*/ 17898 w 51323"/>
                <a:gd name="connsiteY454" fmla="*/ 7025 h 51323"/>
                <a:gd name="connsiteX455" fmla="*/ 17898 w 51323"/>
                <a:gd name="connsiteY455" fmla="*/ 7025 h 51323"/>
                <a:gd name="connsiteX456" fmla="*/ 18001 w 51323"/>
                <a:gd name="connsiteY456" fmla="*/ 7025 h 51323"/>
                <a:gd name="connsiteX457" fmla="*/ 18001 w 51323"/>
                <a:gd name="connsiteY457" fmla="*/ 7025 h 51323"/>
                <a:gd name="connsiteX458" fmla="*/ 18001 w 51323"/>
                <a:gd name="connsiteY458" fmla="*/ 7025 h 51323"/>
                <a:gd name="connsiteX459" fmla="*/ 17829 w 51323"/>
                <a:gd name="connsiteY459" fmla="*/ 7025 h 51323"/>
                <a:gd name="connsiteX460" fmla="*/ 17829 w 51323"/>
                <a:gd name="connsiteY460" fmla="*/ 7025 h 51323"/>
                <a:gd name="connsiteX461" fmla="*/ 17829 w 51323"/>
                <a:gd name="connsiteY461" fmla="*/ 7025 h 51323"/>
                <a:gd name="connsiteX462" fmla="*/ 17177 w 51323"/>
                <a:gd name="connsiteY462" fmla="*/ 7437 h 51323"/>
                <a:gd name="connsiteX463" fmla="*/ 17434 w 51323"/>
                <a:gd name="connsiteY463" fmla="*/ 7334 h 51323"/>
                <a:gd name="connsiteX464" fmla="*/ 17434 w 51323"/>
                <a:gd name="connsiteY464" fmla="*/ 7334 h 51323"/>
                <a:gd name="connsiteX465" fmla="*/ 17864 w 51323"/>
                <a:gd name="connsiteY465" fmla="*/ 7111 h 51323"/>
                <a:gd name="connsiteX466" fmla="*/ 17331 w 51323"/>
                <a:gd name="connsiteY466" fmla="*/ 7489 h 51323"/>
                <a:gd name="connsiteX467" fmla="*/ 17331 w 51323"/>
                <a:gd name="connsiteY467" fmla="*/ 7489 h 51323"/>
                <a:gd name="connsiteX468" fmla="*/ 16644 w 51323"/>
                <a:gd name="connsiteY468" fmla="*/ 7970 h 51323"/>
                <a:gd name="connsiteX469" fmla="*/ 16799 w 51323"/>
                <a:gd name="connsiteY469" fmla="*/ 7884 h 51323"/>
                <a:gd name="connsiteX470" fmla="*/ 16799 w 51323"/>
                <a:gd name="connsiteY470" fmla="*/ 7884 h 51323"/>
                <a:gd name="connsiteX471" fmla="*/ 17675 w 51323"/>
                <a:gd name="connsiteY471" fmla="*/ 7437 h 51323"/>
                <a:gd name="connsiteX472" fmla="*/ 17675 w 51323"/>
                <a:gd name="connsiteY472" fmla="*/ 7437 h 51323"/>
                <a:gd name="connsiteX473" fmla="*/ 17675 w 51323"/>
                <a:gd name="connsiteY473" fmla="*/ 7437 h 51323"/>
                <a:gd name="connsiteX474" fmla="*/ 17812 w 51323"/>
                <a:gd name="connsiteY474" fmla="*/ 7352 h 51323"/>
                <a:gd name="connsiteX475" fmla="*/ 17812 w 51323"/>
                <a:gd name="connsiteY475" fmla="*/ 7352 h 51323"/>
                <a:gd name="connsiteX476" fmla="*/ 17932 w 51323"/>
                <a:gd name="connsiteY476" fmla="*/ 7352 h 51323"/>
                <a:gd name="connsiteX477" fmla="*/ 17932 w 51323"/>
                <a:gd name="connsiteY477" fmla="*/ 7352 h 51323"/>
                <a:gd name="connsiteX478" fmla="*/ 18362 w 51323"/>
                <a:gd name="connsiteY478" fmla="*/ 7111 h 51323"/>
                <a:gd name="connsiteX479" fmla="*/ 18362 w 51323"/>
                <a:gd name="connsiteY479" fmla="*/ 7266 h 51323"/>
                <a:gd name="connsiteX480" fmla="*/ 18362 w 51323"/>
                <a:gd name="connsiteY480" fmla="*/ 7266 h 51323"/>
                <a:gd name="connsiteX481" fmla="*/ 18242 w 51323"/>
                <a:gd name="connsiteY481" fmla="*/ 7386 h 51323"/>
                <a:gd name="connsiteX482" fmla="*/ 18104 w 51323"/>
                <a:gd name="connsiteY482" fmla="*/ 7489 h 51323"/>
                <a:gd name="connsiteX483" fmla="*/ 17898 w 51323"/>
                <a:gd name="connsiteY483" fmla="*/ 7626 h 51323"/>
                <a:gd name="connsiteX484" fmla="*/ 17898 w 51323"/>
                <a:gd name="connsiteY484" fmla="*/ 7626 h 51323"/>
                <a:gd name="connsiteX485" fmla="*/ 17898 w 51323"/>
                <a:gd name="connsiteY485" fmla="*/ 7626 h 51323"/>
                <a:gd name="connsiteX486" fmla="*/ 17692 w 51323"/>
                <a:gd name="connsiteY486" fmla="*/ 7626 h 51323"/>
                <a:gd name="connsiteX487" fmla="*/ 17692 w 51323"/>
                <a:gd name="connsiteY487" fmla="*/ 7626 h 51323"/>
                <a:gd name="connsiteX488" fmla="*/ 17537 w 51323"/>
                <a:gd name="connsiteY488" fmla="*/ 7729 h 51323"/>
                <a:gd name="connsiteX489" fmla="*/ 17537 w 51323"/>
                <a:gd name="connsiteY489" fmla="*/ 7729 h 51323"/>
                <a:gd name="connsiteX490" fmla="*/ 17537 w 51323"/>
                <a:gd name="connsiteY490" fmla="*/ 7729 h 51323"/>
                <a:gd name="connsiteX491" fmla="*/ 16438 w 51323"/>
                <a:gd name="connsiteY491" fmla="*/ 8296 h 51323"/>
                <a:gd name="connsiteX492" fmla="*/ 16524 w 51323"/>
                <a:gd name="connsiteY492" fmla="*/ 8245 h 51323"/>
                <a:gd name="connsiteX493" fmla="*/ 16524 w 51323"/>
                <a:gd name="connsiteY493" fmla="*/ 8245 h 51323"/>
                <a:gd name="connsiteX494" fmla="*/ 16661 w 51323"/>
                <a:gd name="connsiteY494" fmla="*/ 8125 h 51323"/>
                <a:gd name="connsiteX495" fmla="*/ 16661 w 51323"/>
                <a:gd name="connsiteY495" fmla="*/ 8125 h 51323"/>
                <a:gd name="connsiteX496" fmla="*/ 16661 w 51323"/>
                <a:gd name="connsiteY496" fmla="*/ 8125 h 51323"/>
                <a:gd name="connsiteX497" fmla="*/ 16301 w 51323"/>
                <a:gd name="connsiteY497" fmla="*/ 8451 h 51323"/>
                <a:gd name="connsiteX498" fmla="*/ 16404 w 51323"/>
                <a:gd name="connsiteY498" fmla="*/ 8296 h 51323"/>
                <a:gd name="connsiteX499" fmla="*/ 16283 w 51323"/>
                <a:gd name="connsiteY499" fmla="*/ 8399 h 51323"/>
                <a:gd name="connsiteX500" fmla="*/ 16283 w 51323"/>
                <a:gd name="connsiteY500" fmla="*/ 8399 h 51323"/>
                <a:gd name="connsiteX501" fmla="*/ 16283 w 51323"/>
                <a:gd name="connsiteY501" fmla="*/ 8399 h 51323"/>
                <a:gd name="connsiteX502" fmla="*/ 16438 w 51323"/>
                <a:gd name="connsiteY502" fmla="*/ 8279 h 51323"/>
                <a:gd name="connsiteX503" fmla="*/ 16438 w 51323"/>
                <a:gd name="connsiteY503" fmla="*/ 8279 h 51323"/>
                <a:gd name="connsiteX504" fmla="*/ 16438 w 51323"/>
                <a:gd name="connsiteY504" fmla="*/ 8279 h 51323"/>
                <a:gd name="connsiteX505" fmla="*/ 16438 w 51323"/>
                <a:gd name="connsiteY505" fmla="*/ 8279 h 51323"/>
                <a:gd name="connsiteX506" fmla="*/ 15837 w 51323"/>
                <a:gd name="connsiteY506" fmla="*/ 8657 h 51323"/>
                <a:gd name="connsiteX507" fmla="*/ 15837 w 51323"/>
                <a:gd name="connsiteY507" fmla="*/ 8657 h 51323"/>
                <a:gd name="connsiteX508" fmla="*/ 15837 w 51323"/>
                <a:gd name="connsiteY508" fmla="*/ 8365 h 51323"/>
                <a:gd name="connsiteX509" fmla="*/ 15287 w 51323"/>
                <a:gd name="connsiteY509" fmla="*/ 8932 h 51323"/>
                <a:gd name="connsiteX510" fmla="*/ 15287 w 51323"/>
                <a:gd name="connsiteY510" fmla="*/ 8932 h 51323"/>
                <a:gd name="connsiteX511" fmla="*/ 14841 w 51323"/>
                <a:gd name="connsiteY511" fmla="*/ 9138 h 51323"/>
                <a:gd name="connsiteX512" fmla="*/ 14841 w 51323"/>
                <a:gd name="connsiteY512" fmla="*/ 9138 h 51323"/>
                <a:gd name="connsiteX513" fmla="*/ 14841 w 51323"/>
                <a:gd name="connsiteY513" fmla="*/ 9138 h 51323"/>
                <a:gd name="connsiteX514" fmla="*/ 14841 w 51323"/>
                <a:gd name="connsiteY514" fmla="*/ 9138 h 51323"/>
                <a:gd name="connsiteX515" fmla="*/ 14961 w 51323"/>
                <a:gd name="connsiteY515" fmla="*/ 9035 h 51323"/>
                <a:gd name="connsiteX516" fmla="*/ 14806 w 51323"/>
                <a:gd name="connsiteY516" fmla="*/ 9121 h 51323"/>
                <a:gd name="connsiteX517" fmla="*/ 14909 w 51323"/>
                <a:gd name="connsiteY517" fmla="*/ 9018 h 51323"/>
                <a:gd name="connsiteX518" fmla="*/ 14686 w 51323"/>
                <a:gd name="connsiteY518" fmla="*/ 9138 h 51323"/>
                <a:gd name="connsiteX519" fmla="*/ 14531 w 51323"/>
                <a:gd name="connsiteY519" fmla="*/ 9258 h 51323"/>
                <a:gd name="connsiteX520" fmla="*/ 14789 w 51323"/>
                <a:gd name="connsiteY520" fmla="*/ 8846 h 51323"/>
                <a:gd name="connsiteX521" fmla="*/ 14789 w 51323"/>
                <a:gd name="connsiteY521" fmla="*/ 8846 h 51323"/>
                <a:gd name="connsiteX522" fmla="*/ 14789 w 51323"/>
                <a:gd name="connsiteY522" fmla="*/ 8846 h 51323"/>
                <a:gd name="connsiteX523" fmla="*/ 14703 w 51323"/>
                <a:gd name="connsiteY523" fmla="*/ 8949 h 51323"/>
                <a:gd name="connsiteX524" fmla="*/ 14549 w 51323"/>
                <a:gd name="connsiteY524" fmla="*/ 9121 h 51323"/>
                <a:gd name="connsiteX525" fmla="*/ 14686 w 51323"/>
                <a:gd name="connsiteY525" fmla="*/ 9121 h 51323"/>
                <a:gd name="connsiteX526" fmla="*/ 14411 w 51323"/>
                <a:gd name="connsiteY526" fmla="*/ 9121 h 51323"/>
                <a:gd name="connsiteX527" fmla="*/ 14085 w 51323"/>
                <a:gd name="connsiteY527" fmla="*/ 9447 h 51323"/>
                <a:gd name="connsiteX528" fmla="*/ 14085 w 51323"/>
                <a:gd name="connsiteY528" fmla="*/ 9447 h 51323"/>
                <a:gd name="connsiteX529" fmla="*/ 14085 w 51323"/>
                <a:gd name="connsiteY529" fmla="*/ 9447 h 51323"/>
                <a:gd name="connsiteX530" fmla="*/ 14085 w 51323"/>
                <a:gd name="connsiteY530" fmla="*/ 9447 h 51323"/>
                <a:gd name="connsiteX531" fmla="*/ 13930 w 51323"/>
                <a:gd name="connsiteY531" fmla="*/ 9585 h 51323"/>
                <a:gd name="connsiteX532" fmla="*/ 13930 w 51323"/>
                <a:gd name="connsiteY532" fmla="*/ 9585 h 51323"/>
                <a:gd name="connsiteX533" fmla="*/ 13776 w 51323"/>
                <a:gd name="connsiteY533" fmla="*/ 9585 h 51323"/>
                <a:gd name="connsiteX534" fmla="*/ 13123 w 51323"/>
                <a:gd name="connsiteY534" fmla="*/ 9945 h 51323"/>
                <a:gd name="connsiteX535" fmla="*/ 13123 w 51323"/>
                <a:gd name="connsiteY535" fmla="*/ 9945 h 51323"/>
                <a:gd name="connsiteX536" fmla="*/ 11903 w 51323"/>
                <a:gd name="connsiteY536" fmla="*/ 10907 h 51323"/>
                <a:gd name="connsiteX537" fmla="*/ 11525 w 51323"/>
                <a:gd name="connsiteY537" fmla="*/ 11405 h 51323"/>
                <a:gd name="connsiteX538" fmla="*/ 11525 w 51323"/>
                <a:gd name="connsiteY538" fmla="*/ 12092 h 51323"/>
                <a:gd name="connsiteX539" fmla="*/ 11525 w 51323"/>
                <a:gd name="connsiteY539" fmla="*/ 12092 h 51323"/>
                <a:gd name="connsiteX540" fmla="*/ 11405 w 51323"/>
                <a:gd name="connsiteY540" fmla="*/ 12556 h 51323"/>
                <a:gd name="connsiteX541" fmla="*/ 11629 w 51323"/>
                <a:gd name="connsiteY541" fmla="*/ 12693 h 51323"/>
                <a:gd name="connsiteX542" fmla="*/ 11629 w 51323"/>
                <a:gd name="connsiteY542" fmla="*/ 12693 h 51323"/>
                <a:gd name="connsiteX543" fmla="*/ 10392 w 51323"/>
                <a:gd name="connsiteY543" fmla="*/ 14325 h 51323"/>
                <a:gd name="connsiteX544" fmla="*/ 10753 w 51323"/>
                <a:gd name="connsiteY544" fmla="*/ 14188 h 51323"/>
                <a:gd name="connsiteX545" fmla="*/ 10649 w 51323"/>
                <a:gd name="connsiteY545" fmla="*/ 14514 h 51323"/>
                <a:gd name="connsiteX546" fmla="*/ 12608 w 51323"/>
                <a:gd name="connsiteY546" fmla="*/ 12590 h 51323"/>
                <a:gd name="connsiteX547" fmla="*/ 13999 w 51323"/>
                <a:gd name="connsiteY547" fmla="*/ 11148 h 51323"/>
                <a:gd name="connsiteX548" fmla="*/ 13999 w 51323"/>
                <a:gd name="connsiteY548" fmla="*/ 11148 h 51323"/>
                <a:gd name="connsiteX549" fmla="*/ 14205 w 51323"/>
                <a:gd name="connsiteY549" fmla="*/ 10976 h 51323"/>
                <a:gd name="connsiteX550" fmla="*/ 14325 w 51323"/>
                <a:gd name="connsiteY550" fmla="*/ 10856 h 51323"/>
                <a:gd name="connsiteX551" fmla="*/ 15081 w 51323"/>
                <a:gd name="connsiteY551" fmla="*/ 10409 h 51323"/>
                <a:gd name="connsiteX552" fmla="*/ 15201 w 51323"/>
                <a:gd name="connsiteY552" fmla="*/ 10409 h 51323"/>
                <a:gd name="connsiteX553" fmla="*/ 15201 w 51323"/>
                <a:gd name="connsiteY553" fmla="*/ 10409 h 51323"/>
                <a:gd name="connsiteX554" fmla="*/ 15304 w 51323"/>
                <a:gd name="connsiteY554" fmla="*/ 10564 h 51323"/>
                <a:gd name="connsiteX555" fmla="*/ 15167 w 51323"/>
                <a:gd name="connsiteY555" fmla="*/ 10701 h 51323"/>
                <a:gd name="connsiteX556" fmla="*/ 15167 w 51323"/>
                <a:gd name="connsiteY556" fmla="*/ 10701 h 51323"/>
                <a:gd name="connsiteX557" fmla="*/ 15167 w 51323"/>
                <a:gd name="connsiteY557" fmla="*/ 10856 h 51323"/>
                <a:gd name="connsiteX558" fmla="*/ 15167 w 51323"/>
                <a:gd name="connsiteY558" fmla="*/ 10856 h 51323"/>
                <a:gd name="connsiteX559" fmla="*/ 15167 w 51323"/>
                <a:gd name="connsiteY559" fmla="*/ 10941 h 51323"/>
                <a:gd name="connsiteX560" fmla="*/ 15167 w 51323"/>
                <a:gd name="connsiteY560" fmla="*/ 10941 h 51323"/>
                <a:gd name="connsiteX561" fmla="*/ 15047 w 51323"/>
                <a:gd name="connsiteY561" fmla="*/ 11079 h 51323"/>
                <a:gd name="connsiteX562" fmla="*/ 15047 w 51323"/>
                <a:gd name="connsiteY562" fmla="*/ 11079 h 51323"/>
                <a:gd name="connsiteX563" fmla="*/ 15047 w 51323"/>
                <a:gd name="connsiteY563" fmla="*/ 11079 h 51323"/>
                <a:gd name="connsiteX564" fmla="*/ 15047 w 51323"/>
                <a:gd name="connsiteY564" fmla="*/ 11079 h 51323"/>
                <a:gd name="connsiteX565" fmla="*/ 15047 w 51323"/>
                <a:gd name="connsiteY565" fmla="*/ 11079 h 51323"/>
                <a:gd name="connsiteX566" fmla="*/ 15047 w 51323"/>
                <a:gd name="connsiteY566" fmla="*/ 11079 h 51323"/>
                <a:gd name="connsiteX567" fmla="*/ 15047 w 51323"/>
                <a:gd name="connsiteY567" fmla="*/ 11216 h 51323"/>
                <a:gd name="connsiteX568" fmla="*/ 15201 w 51323"/>
                <a:gd name="connsiteY568" fmla="*/ 11130 h 51323"/>
                <a:gd name="connsiteX569" fmla="*/ 14789 w 51323"/>
                <a:gd name="connsiteY569" fmla="*/ 11508 h 51323"/>
                <a:gd name="connsiteX570" fmla="*/ 14789 w 51323"/>
                <a:gd name="connsiteY570" fmla="*/ 11508 h 51323"/>
                <a:gd name="connsiteX571" fmla="*/ 14583 w 51323"/>
                <a:gd name="connsiteY571" fmla="*/ 11508 h 51323"/>
                <a:gd name="connsiteX572" fmla="*/ 14325 w 51323"/>
                <a:gd name="connsiteY572" fmla="*/ 11989 h 51323"/>
                <a:gd name="connsiteX573" fmla="*/ 14325 w 51323"/>
                <a:gd name="connsiteY573" fmla="*/ 11989 h 51323"/>
                <a:gd name="connsiteX574" fmla="*/ 14016 w 51323"/>
                <a:gd name="connsiteY574" fmla="*/ 12367 h 51323"/>
                <a:gd name="connsiteX575" fmla="*/ 14016 w 51323"/>
                <a:gd name="connsiteY575" fmla="*/ 12367 h 51323"/>
                <a:gd name="connsiteX576" fmla="*/ 14308 w 51323"/>
                <a:gd name="connsiteY576" fmla="*/ 12230 h 51323"/>
                <a:gd name="connsiteX577" fmla="*/ 14549 w 51323"/>
                <a:gd name="connsiteY577" fmla="*/ 12075 h 51323"/>
                <a:gd name="connsiteX578" fmla="*/ 14549 w 51323"/>
                <a:gd name="connsiteY578" fmla="*/ 12247 h 51323"/>
                <a:gd name="connsiteX579" fmla="*/ 14995 w 51323"/>
                <a:gd name="connsiteY579" fmla="*/ 11921 h 51323"/>
                <a:gd name="connsiteX580" fmla="*/ 14995 w 51323"/>
                <a:gd name="connsiteY580" fmla="*/ 11921 h 51323"/>
                <a:gd name="connsiteX581" fmla="*/ 15133 w 51323"/>
                <a:gd name="connsiteY581" fmla="*/ 11817 h 51323"/>
                <a:gd name="connsiteX582" fmla="*/ 15133 w 51323"/>
                <a:gd name="connsiteY582" fmla="*/ 11817 h 51323"/>
                <a:gd name="connsiteX583" fmla="*/ 15442 w 51323"/>
                <a:gd name="connsiteY583" fmla="*/ 11577 h 51323"/>
                <a:gd name="connsiteX584" fmla="*/ 15442 w 51323"/>
                <a:gd name="connsiteY584" fmla="*/ 11577 h 51323"/>
                <a:gd name="connsiteX585" fmla="*/ 15322 w 51323"/>
                <a:gd name="connsiteY585" fmla="*/ 11697 h 51323"/>
                <a:gd name="connsiteX586" fmla="*/ 15322 w 51323"/>
                <a:gd name="connsiteY586" fmla="*/ 11783 h 51323"/>
                <a:gd name="connsiteX587" fmla="*/ 15322 w 51323"/>
                <a:gd name="connsiteY587" fmla="*/ 11783 h 51323"/>
                <a:gd name="connsiteX588" fmla="*/ 15150 w 51323"/>
                <a:gd name="connsiteY588" fmla="*/ 12006 h 51323"/>
                <a:gd name="connsiteX589" fmla="*/ 15150 w 51323"/>
                <a:gd name="connsiteY589" fmla="*/ 12006 h 51323"/>
                <a:gd name="connsiteX590" fmla="*/ 15150 w 51323"/>
                <a:gd name="connsiteY590" fmla="*/ 12144 h 51323"/>
                <a:gd name="connsiteX591" fmla="*/ 15150 w 51323"/>
                <a:gd name="connsiteY591" fmla="*/ 12247 h 51323"/>
                <a:gd name="connsiteX592" fmla="*/ 14978 w 51323"/>
                <a:gd name="connsiteY592" fmla="*/ 12247 h 51323"/>
                <a:gd name="connsiteX593" fmla="*/ 14978 w 51323"/>
                <a:gd name="connsiteY593" fmla="*/ 12350 h 51323"/>
                <a:gd name="connsiteX594" fmla="*/ 15150 w 51323"/>
                <a:gd name="connsiteY594" fmla="*/ 12350 h 51323"/>
                <a:gd name="connsiteX595" fmla="*/ 14892 w 51323"/>
                <a:gd name="connsiteY595" fmla="*/ 12505 h 51323"/>
                <a:gd name="connsiteX596" fmla="*/ 14892 w 51323"/>
                <a:gd name="connsiteY596" fmla="*/ 12608 h 51323"/>
                <a:gd name="connsiteX597" fmla="*/ 14995 w 51323"/>
                <a:gd name="connsiteY597" fmla="*/ 12608 h 51323"/>
                <a:gd name="connsiteX598" fmla="*/ 14889 w 51323"/>
                <a:gd name="connsiteY598" fmla="*/ 12770 h 51323"/>
                <a:gd name="connsiteX599" fmla="*/ 14806 w 51323"/>
                <a:gd name="connsiteY599" fmla="*/ 12762 h 51323"/>
                <a:gd name="connsiteX600" fmla="*/ 14806 w 51323"/>
                <a:gd name="connsiteY600" fmla="*/ 12917 h 51323"/>
                <a:gd name="connsiteX601" fmla="*/ 14566 w 51323"/>
                <a:gd name="connsiteY601" fmla="*/ 13089 h 51323"/>
                <a:gd name="connsiteX602" fmla="*/ 14411 w 51323"/>
                <a:gd name="connsiteY602" fmla="*/ 13312 h 51323"/>
                <a:gd name="connsiteX603" fmla="*/ 14531 w 51323"/>
                <a:gd name="connsiteY603" fmla="*/ 13415 h 51323"/>
                <a:gd name="connsiteX604" fmla="*/ 14531 w 51323"/>
                <a:gd name="connsiteY604" fmla="*/ 13501 h 51323"/>
                <a:gd name="connsiteX605" fmla="*/ 14531 w 51323"/>
                <a:gd name="connsiteY605" fmla="*/ 13621 h 51323"/>
                <a:gd name="connsiteX606" fmla="*/ 14634 w 51323"/>
                <a:gd name="connsiteY606" fmla="*/ 13621 h 51323"/>
                <a:gd name="connsiteX607" fmla="*/ 14325 w 51323"/>
                <a:gd name="connsiteY607" fmla="*/ 13844 h 51323"/>
                <a:gd name="connsiteX608" fmla="*/ 14549 w 51323"/>
                <a:gd name="connsiteY608" fmla="*/ 13844 h 51323"/>
                <a:gd name="connsiteX609" fmla="*/ 14549 w 51323"/>
                <a:gd name="connsiteY609" fmla="*/ 13844 h 51323"/>
                <a:gd name="connsiteX610" fmla="*/ 14394 w 51323"/>
                <a:gd name="connsiteY610" fmla="*/ 13999 h 51323"/>
                <a:gd name="connsiteX611" fmla="*/ 14549 w 51323"/>
                <a:gd name="connsiteY611" fmla="*/ 13999 h 51323"/>
                <a:gd name="connsiteX612" fmla="*/ 14549 w 51323"/>
                <a:gd name="connsiteY612" fmla="*/ 13999 h 51323"/>
                <a:gd name="connsiteX613" fmla="*/ 14446 w 51323"/>
                <a:gd name="connsiteY613" fmla="*/ 14153 h 51323"/>
                <a:gd name="connsiteX614" fmla="*/ 14549 w 51323"/>
                <a:gd name="connsiteY614" fmla="*/ 14153 h 51323"/>
                <a:gd name="connsiteX615" fmla="*/ 14119 w 51323"/>
                <a:gd name="connsiteY615" fmla="*/ 14360 h 51323"/>
                <a:gd name="connsiteX616" fmla="*/ 13896 w 51323"/>
                <a:gd name="connsiteY616" fmla="*/ 14497 h 51323"/>
                <a:gd name="connsiteX617" fmla="*/ 13896 w 51323"/>
                <a:gd name="connsiteY617" fmla="*/ 14308 h 51323"/>
                <a:gd name="connsiteX618" fmla="*/ 13793 w 51323"/>
                <a:gd name="connsiteY618" fmla="*/ 14634 h 51323"/>
                <a:gd name="connsiteX619" fmla="*/ 14428 w 51323"/>
                <a:gd name="connsiteY619" fmla="*/ 14411 h 51323"/>
                <a:gd name="connsiteX620" fmla="*/ 14428 w 51323"/>
                <a:gd name="connsiteY620" fmla="*/ 14617 h 51323"/>
                <a:gd name="connsiteX621" fmla="*/ 14428 w 51323"/>
                <a:gd name="connsiteY621" fmla="*/ 14617 h 51323"/>
                <a:gd name="connsiteX622" fmla="*/ 14566 w 51323"/>
                <a:gd name="connsiteY622" fmla="*/ 14617 h 51323"/>
                <a:gd name="connsiteX623" fmla="*/ 14652 w 51323"/>
                <a:gd name="connsiteY623" fmla="*/ 14617 h 51323"/>
                <a:gd name="connsiteX624" fmla="*/ 14497 w 51323"/>
                <a:gd name="connsiteY624" fmla="*/ 14772 h 51323"/>
                <a:gd name="connsiteX625" fmla="*/ 14360 w 51323"/>
                <a:gd name="connsiteY625" fmla="*/ 14875 h 51323"/>
                <a:gd name="connsiteX626" fmla="*/ 14360 w 51323"/>
                <a:gd name="connsiteY626" fmla="*/ 15012 h 51323"/>
                <a:gd name="connsiteX627" fmla="*/ 13844 w 51323"/>
                <a:gd name="connsiteY627" fmla="*/ 15287 h 51323"/>
                <a:gd name="connsiteX628" fmla="*/ 13844 w 51323"/>
                <a:gd name="connsiteY628" fmla="*/ 15287 h 51323"/>
                <a:gd name="connsiteX629" fmla="*/ 12590 w 51323"/>
                <a:gd name="connsiteY629" fmla="*/ 15407 h 51323"/>
                <a:gd name="connsiteX630" fmla="*/ 12247 w 51323"/>
                <a:gd name="connsiteY630" fmla="*/ 15253 h 51323"/>
                <a:gd name="connsiteX631" fmla="*/ 10426 w 51323"/>
                <a:gd name="connsiteY631" fmla="*/ 16369 h 51323"/>
                <a:gd name="connsiteX632" fmla="*/ 11749 w 51323"/>
                <a:gd name="connsiteY632" fmla="*/ 16369 h 51323"/>
                <a:gd name="connsiteX633" fmla="*/ 11577 w 51323"/>
                <a:gd name="connsiteY633" fmla="*/ 16507 h 51323"/>
                <a:gd name="connsiteX634" fmla="*/ 11577 w 51323"/>
                <a:gd name="connsiteY634" fmla="*/ 16936 h 51323"/>
                <a:gd name="connsiteX635" fmla="*/ 11835 w 51323"/>
                <a:gd name="connsiteY635" fmla="*/ 17125 h 51323"/>
                <a:gd name="connsiteX636" fmla="*/ 11835 w 51323"/>
                <a:gd name="connsiteY636" fmla="*/ 17245 h 51323"/>
                <a:gd name="connsiteX637" fmla="*/ 11251 w 51323"/>
                <a:gd name="connsiteY637" fmla="*/ 17365 h 51323"/>
                <a:gd name="connsiteX638" fmla="*/ 10770 w 51323"/>
                <a:gd name="connsiteY638" fmla="*/ 17743 h 51323"/>
                <a:gd name="connsiteX639" fmla="*/ 10770 w 51323"/>
                <a:gd name="connsiteY639" fmla="*/ 17743 h 51323"/>
                <a:gd name="connsiteX640" fmla="*/ 10770 w 51323"/>
                <a:gd name="connsiteY640" fmla="*/ 17640 h 51323"/>
                <a:gd name="connsiteX641" fmla="*/ 11371 w 51323"/>
                <a:gd name="connsiteY641" fmla="*/ 17280 h 51323"/>
                <a:gd name="connsiteX642" fmla="*/ 11543 w 51323"/>
                <a:gd name="connsiteY642" fmla="*/ 17194 h 51323"/>
                <a:gd name="connsiteX643" fmla="*/ 11543 w 51323"/>
                <a:gd name="connsiteY643" fmla="*/ 16970 h 51323"/>
                <a:gd name="connsiteX644" fmla="*/ 11543 w 51323"/>
                <a:gd name="connsiteY644" fmla="*/ 16970 h 51323"/>
                <a:gd name="connsiteX645" fmla="*/ 11543 w 51323"/>
                <a:gd name="connsiteY645" fmla="*/ 16970 h 51323"/>
                <a:gd name="connsiteX646" fmla="*/ 11233 w 51323"/>
                <a:gd name="connsiteY646" fmla="*/ 16970 h 51323"/>
                <a:gd name="connsiteX647" fmla="*/ 10924 w 51323"/>
                <a:gd name="connsiteY647" fmla="*/ 16970 h 51323"/>
                <a:gd name="connsiteX648" fmla="*/ 10924 w 51323"/>
                <a:gd name="connsiteY648" fmla="*/ 17159 h 51323"/>
                <a:gd name="connsiteX649" fmla="*/ 10924 w 51323"/>
                <a:gd name="connsiteY649" fmla="*/ 17159 h 51323"/>
                <a:gd name="connsiteX650" fmla="*/ 10667 w 51323"/>
                <a:gd name="connsiteY650" fmla="*/ 17159 h 51323"/>
                <a:gd name="connsiteX651" fmla="*/ 10667 w 51323"/>
                <a:gd name="connsiteY651" fmla="*/ 17159 h 51323"/>
                <a:gd name="connsiteX652" fmla="*/ 10478 w 51323"/>
                <a:gd name="connsiteY652" fmla="*/ 17331 h 51323"/>
                <a:gd name="connsiteX653" fmla="*/ 10478 w 51323"/>
                <a:gd name="connsiteY653" fmla="*/ 17331 h 51323"/>
                <a:gd name="connsiteX654" fmla="*/ 10478 w 51323"/>
                <a:gd name="connsiteY654" fmla="*/ 17331 h 51323"/>
                <a:gd name="connsiteX655" fmla="*/ 10478 w 51323"/>
                <a:gd name="connsiteY655" fmla="*/ 17331 h 51323"/>
                <a:gd name="connsiteX656" fmla="*/ 10083 w 51323"/>
                <a:gd name="connsiteY656" fmla="*/ 18001 h 51323"/>
                <a:gd name="connsiteX657" fmla="*/ 9911 w 51323"/>
                <a:gd name="connsiteY657" fmla="*/ 18087 h 51323"/>
                <a:gd name="connsiteX658" fmla="*/ 9808 w 51323"/>
                <a:gd name="connsiteY658" fmla="*/ 18087 h 51323"/>
                <a:gd name="connsiteX659" fmla="*/ 8743 w 51323"/>
                <a:gd name="connsiteY659" fmla="*/ 18980 h 51323"/>
                <a:gd name="connsiteX660" fmla="*/ 8743 w 51323"/>
                <a:gd name="connsiteY660" fmla="*/ 18980 h 51323"/>
                <a:gd name="connsiteX661" fmla="*/ 8743 w 51323"/>
                <a:gd name="connsiteY661" fmla="*/ 18980 h 51323"/>
                <a:gd name="connsiteX662" fmla="*/ 8743 w 51323"/>
                <a:gd name="connsiteY662" fmla="*/ 18740 h 51323"/>
                <a:gd name="connsiteX663" fmla="*/ 8365 w 51323"/>
                <a:gd name="connsiteY663" fmla="*/ 19495 h 51323"/>
                <a:gd name="connsiteX664" fmla="*/ 8365 w 51323"/>
                <a:gd name="connsiteY664" fmla="*/ 19495 h 51323"/>
                <a:gd name="connsiteX665" fmla="*/ 8262 w 51323"/>
                <a:gd name="connsiteY665" fmla="*/ 19650 h 51323"/>
                <a:gd name="connsiteX666" fmla="*/ 8434 w 51323"/>
                <a:gd name="connsiteY666" fmla="*/ 19341 h 51323"/>
                <a:gd name="connsiteX667" fmla="*/ 8434 w 51323"/>
                <a:gd name="connsiteY667" fmla="*/ 19221 h 51323"/>
                <a:gd name="connsiteX668" fmla="*/ 8434 w 51323"/>
                <a:gd name="connsiteY668" fmla="*/ 19221 h 51323"/>
                <a:gd name="connsiteX669" fmla="*/ 8674 w 51323"/>
                <a:gd name="connsiteY669" fmla="*/ 18671 h 51323"/>
                <a:gd name="connsiteX670" fmla="*/ 8365 w 51323"/>
                <a:gd name="connsiteY670" fmla="*/ 19221 h 51323"/>
                <a:gd name="connsiteX671" fmla="*/ 8365 w 51323"/>
                <a:gd name="connsiteY671" fmla="*/ 18929 h 51323"/>
                <a:gd name="connsiteX672" fmla="*/ 8365 w 51323"/>
                <a:gd name="connsiteY672" fmla="*/ 19324 h 51323"/>
                <a:gd name="connsiteX673" fmla="*/ 8365 w 51323"/>
                <a:gd name="connsiteY673" fmla="*/ 19530 h 51323"/>
                <a:gd name="connsiteX674" fmla="*/ 8365 w 51323"/>
                <a:gd name="connsiteY674" fmla="*/ 19650 h 51323"/>
                <a:gd name="connsiteX675" fmla="*/ 8365 w 51323"/>
                <a:gd name="connsiteY675" fmla="*/ 19513 h 51323"/>
                <a:gd name="connsiteX676" fmla="*/ 8365 w 51323"/>
                <a:gd name="connsiteY676" fmla="*/ 19856 h 51323"/>
                <a:gd name="connsiteX677" fmla="*/ 8365 w 51323"/>
                <a:gd name="connsiteY677" fmla="*/ 19856 h 51323"/>
                <a:gd name="connsiteX678" fmla="*/ 8210 w 51323"/>
                <a:gd name="connsiteY678" fmla="*/ 19976 h 51323"/>
                <a:gd name="connsiteX679" fmla="*/ 8210 w 51323"/>
                <a:gd name="connsiteY679" fmla="*/ 20097 h 51323"/>
                <a:gd name="connsiteX680" fmla="*/ 8313 w 51323"/>
                <a:gd name="connsiteY680" fmla="*/ 20234 h 51323"/>
                <a:gd name="connsiteX681" fmla="*/ 8313 w 51323"/>
                <a:gd name="connsiteY681" fmla="*/ 20131 h 51323"/>
                <a:gd name="connsiteX682" fmla="*/ 8176 w 51323"/>
                <a:gd name="connsiteY682" fmla="*/ 20354 h 51323"/>
                <a:gd name="connsiteX683" fmla="*/ 8176 w 51323"/>
                <a:gd name="connsiteY683" fmla="*/ 20251 h 51323"/>
                <a:gd name="connsiteX684" fmla="*/ 8176 w 51323"/>
                <a:gd name="connsiteY684" fmla="*/ 20251 h 51323"/>
                <a:gd name="connsiteX685" fmla="*/ 8176 w 51323"/>
                <a:gd name="connsiteY685" fmla="*/ 20389 h 51323"/>
                <a:gd name="connsiteX686" fmla="*/ 8176 w 51323"/>
                <a:gd name="connsiteY686" fmla="*/ 20389 h 51323"/>
                <a:gd name="connsiteX687" fmla="*/ 8176 w 51323"/>
                <a:gd name="connsiteY687" fmla="*/ 20389 h 51323"/>
                <a:gd name="connsiteX688" fmla="*/ 8176 w 51323"/>
                <a:gd name="connsiteY688" fmla="*/ 20389 h 51323"/>
                <a:gd name="connsiteX689" fmla="*/ 6579 w 51323"/>
                <a:gd name="connsiteY689" fmla="*/ 22982 h 51323"/>
                <a:gd name="connsiteX690" fmla="*/ 6579 w 51323"/>
                <a:gd name="connsiteY690" fmla="*/ 22982 h 51323"/>
                <a:gd name="connsiteX691" fmla="*/ 6579 w 51323"/>
                <a:gd name="connsiteY691" fmla="*/ 22982 h 51323"/>
                <a:gd name="connsiteX692" fmla="*/ 6579 w 51323"/>
                <a:gd name="connsiteY692" fmla="*/ 22982 h 51323"/>
                <a:gd name="connsiteX693" fmla="*/ 6579 w 51323"/>
                <a:gd name="connsiteY693" fmla="*/ 22604 h 51323"/>
                <a:gd name="connsiteX694" fmla="*/ 6579 w 51323"/>
                <a:gd name="connsiteY694" fmla="*/ 22707 h 51323"/>
                <a:gd name="connsiteX695" fmla="*/ 6579 w 51323"/>
                <a:gd name="connsiteY695" fmla="*/ 21745 h 51323"/>
                <a:gd name="connsiteX696" fmla="*/ 6579 w 51323"/>
                <a:gd name="connsiteY696" fmla="*/ 21745 h 51323"/>
                <a:gd name="connsiteX697" fmla="*/ 6579 w 51323"/>
                <a:gd name="connsiteY697" fmla="*/ 21745 h 51323"/>
                <a:gd name="connsiteX698" fmla="*/ 6579 w 51323"/>
                <a:gd name="connsiteY698" fmla="*/ 21745 h 51323"/>
                <a:gd name="connsiteX699" fmla="*/ 6579 w 51323"/>
                <a:gd name="connsiteY699" fmla="*/ 21642 h 51323"/>
                <a:gd name="connsiteX700" fmla="*/ 6579 w 51323"/>
                <a:gd name="connsiteY700" fmla="*/ 21522 h 51323"/>
                <a:gd name="connsiteX701" fmla="*/ 6579 w 51323"/>
                <a:gd name="connsiteY701" fmla="*/ 21522 h 51323"/>
                <a:gd name="connsiteX702" fmla="*/ 6579 w 51323"/>
                <a:gd name="connsiteY702" fmla="*/ 21385 h 51323"/>
                <a:gd name="connsiteX703" fmla="*/ 6579 w 51323"/>
                <a:gd name="connsiteY703" fmla="*/ 21385 h 51323"/>
                <a:gd name="connsiteX704" fmla="*/ 6579 w 51323"/>
                <a:gd name="connsiteY704" fmla="*/ 21385 h 51323"/>
                <a:gd name="connsiteX705" fmla="*/ 6579 w 51323"/>
                <a:gd name="connsiteY705" fmla="*/ 21385 h 51323"/>
                <a:gd name="connsiteX706" fmla="*/ 6579 w 51323"/>
                <a:gd name="connsiteY706" fmla="*/ 21230 h 51323"/>
                <a:gd name="connsiteX707" fmla="*/ 6579 w 51323"/>
                <a:gd name="connsiteY707" fmla="*/ 21333 h 51323"/>
                <a:gd name="connsiteX708" fmla="*/ 6373 w 51323"/>
                <a:gd name="connsiteY708" fmla="*/ 21453 h 51323"/>
                <a:gd name="connsiteX709" fmla="*/ 6373 w 51323"/>
                <a:gd name="connsiteY709" fmla="*/ 21453 h 51323"/>
                <a:gd name="connsiteX710" fmla="*/ 6373 w 51323"/>
                <a:gd name="connsiteY710" fmla="*/ 21849 h 51323"/>
                <a:gd name="connsiteX711" fmla="*/ 6373 w 51323"/>
                <a:gd name="connsiteY711" fmla="*/ 21763 h 51323"/>
                <a:gd name="connsiteX712" fmla="*/ 6373 w 51323"/>
                <a:gd name="connsiteY712" fmla="*/ 21660 h 51323"/>
                <a:gd name="connsiteX713" fmla="*/ 6373 w 51323"/>
                <a:gd name="connsiteY713" fmla="*/ 21350 h 51323"/>
                <a:gd name="connsiteX714" fmla="*/ 6373 w 51323"/>
                <a:gd name="connsiteY714" fmla="*/ 21350 h 51323"/>
                <a:gd name="connsiteX715" fmla="*/ 6184 w 51323"/>
                <a:gd name="connsiteY715" fmla="*/ 21350 h 51323"/>
                <a:gd name="connsiteX716" fmla="*/ 6184 w 51323"/>
                <a:gd name="connsiteY716" fmla="*/ 21127 h 51323"/>
                <a:gd name="connsiteX717" fmla="*/ 6184 w 51323"/>
                <a:gd name="connsiteY717" fmla="*/ 21127 h 51323"/>
                <a:gd name="connsiteX718" fmla="*/ 6184 w 51323"/>
                <a:gd name="connsiteY718" fmla="*/ 21385 h 51323"/>
                <a:gd name="connsiteX719" fmla="*/ 6184 w 51323"/>
                <a:gd name="connsiteY719" fmla="*/ 21385 h 51323"/>
                <a:gd name="connsiteX720" fmla="*/ 6184 w 51323"/>
                <a:gd name="connsiteY720" fmla="*/ 21505 h 51323"/>
                <a:gd name="connsiteX721" fmla="*/ 6184 w 51323"/>
                <a:gd name="connsiteY721" fmla="*/ 21505 h 51323"/>
                <a:gd name="connsiteX722" fmla="*/ 6184 w 51323"/>
                <a:gd name="connsiteY722" fmla="*/ 21505 h 51323"/>
                <a:gd name="connsiteX723" fmla="*/ 6184 w 51323"/>
                <a:gd name="connsiteY723" fmla="*/ 21505 h 51323"/>
                <a:gd name="connsiteX724" fmla="*/ 6184 w 51323"/>
                <a:gd name="connsiteY724" fmla="*/ 21505 h 51323"/>
                <a:gd name="connsiteX725" fmla="*/ 6184 w 51323"/>
                <a:gd name="connsiteY725" fmla="*/ 21505 h 51323"/>
                <a:gd name="connsiteX726" fmla="*/ 6184 w 51323"/>
                <a:gd name="connsiteY726" fmla="*/ 21608 h 51323"/>
                <a:gd name="connsiteX727" fmla="*/ 6184 w 51323"/>
                <a:gd name="connsiteY727" fmla="*/ 21608 h 51323"/>
                <a:gd name="connsiteX728" fmla="*/ 5943 w 51323"/>
                <a:gd name="connsiteY728" fmla="*/ 22553 h 51323"/>
                <a:gd name="connsiteX729" fmla="*/ 5943 w 51323"/>
                <a:gd name="connsiteY729" fmla="*/ 22398 h 51323"/>
                <a:gd name="connsiteX730" fmla="*/ 5943 w 51323"/>
                <a:gd name="connsiteY730" fmla="*/ 22621 h 51323"/>
                <a:gd name="connsiteX731" fmla="*/ 5703 w 51323"/>
                <a:gd name="connsiteY731" fmla="*/ 24116 h 51323"/>
                <a:gd name="connsiteX732" fmla="*/ 5703 w 51323"/>
                <a:gd name="connsiteY732" fmla="*/ 25507 h 51323"/>
                <a:gd name="connsiteX733" fmla="*/ 5703 w 51323"/>
                <a:gd name="connsiteY733" fmla="*/ 25507 h 51323"/>
                <a:gd name="connsiteX734" fmla="*/ 5703 w 51323"/>
                <a:gd name="connsiteY734" fmla="*/ 25421 h 51323"/>
                <a:gd name="connsiteX735" fmla="*/ 5703 w 51323"/>
                <a:gd name="connsiteY735" fmla="*/ 25421 h 51323"/>
                <a:gd name="connsiteX736" fmla="*/ 5703 w 51323"/>
                <a:gd name="connsiteY736" fmla="*/ 25421 h 51323"/>
                <a:gd name="connsiteX737" fmla="*/ 5703 w 51323"/>
                <a:gd name="connsiteY737" fmla="*/ 25421 h 51323"/>
                <a:gd name="connsiteX738" fmla="*/ 5703 w 51323"/>
                <a:gd name="connsiteY738" fmla="*/ 25627 h 51323"/>
                <a:gd name="connsiteX739" fmla="*/ 5703 w 51323"/>
                <a:gd name="connsiteY739" fmla="*/ 25627 h 51323"/>
                <a:gd name="connsiteX740" fmla="*/ 5703 w 51323"/>
                <a:gd name="connsiteY740" fmla="*/ 25627 h 51323"/>
                <a:gd name="connsiteX741" fmla="*/ 5703 w 51323"/>
                <a:gd name="connsiteY741" fmla="*/ 25404 h 51323"/>
                <a:gd name="connsiteX742" fmla="*/ 5703 w 51323"/>
                <a:gd name="connsiteY742" fmla="*/ 25404 h 51323"/>
                <a:gd name="connsiteX743" fmla="*/ 5995 w 51323"/>
                <a:gd name="connsiteY743" fmla="*/ 24665 h 51323"/>
                <a:gd name="connsiteX744" fmla="*/ 5995 w 51323"/>
                <a:gd name="connsiteY744" fmla="*/ 24665 h 51323"/>
                <a:gd name="connsiteX745" fmla="*/ 5995 w 51323"/>
                <a:gd name="connsiteY745" fmla="*/ 24665 h 51323"/>
                <a:gd name="connsiteX746" fmla="*/ 5995 w 51323"/>
                <a:gd name="connsiteY746" fmla="*/ 24665 h 51323"/>
                <a:gd name="connsiteX747" fmla="*/ 5857 w 51323"/>
                <a:gd name="connsiteY747" fmla="*/ 25593 h 51323"/>
                <a:gd name="connsiteX748" fmla="*/ 5857 w 51323"/>
                <a:gd name="connsiteY748" fmla="*/ 25919 h 51323"/>
                <a:gd name="connsiteX749" fmla="*/ 5101 w 51323"/>
                <a:gd name="connsiteY749" fmla="*/ 26521 h 51323"/>
                <a:gd name="connsiteX750" fmla="*/ 4500 w 51323"/>
                <a:gd name="connsiteY750" fmla="*/ 25765 h 51323"/>
                <a:gd name="connsiteX751" fmla="*/ 4397 w 51323"/>
                <a:gd name="connsiteY751" fmla="*/ 26658 h 51323"/>
                <a:gd name="connsiteX752" fmla="*/ 4397 w 51323"/>
                <a:gd name="connsiteY752" fmla="*/ 26658 h 51323"/>
                <a:gd name="connsiteX753" fmla="*/ 4397 w 51323"/>
                <a:gd name="connsiteY753" fmla="*/ 26864 h 51323"/>
                <a:gd name="connsiteX754" fmla="*/ 4397 w 51323"/>
                <a:gd name="connsiteY754" fmla="*/ 26864 h 51323"/>
                <a:gd name="connsiteX755" fmla="*/ 4397 w 51323"/>
                <a:gd name="connsiteY755" fmla="*/ 26950 h 51323"/>
                <a:gd name="connsiteX756" fmla="*/ 4586 w 51323"/>
                <a:gd name="connsiteY756" fmla="*/ 26950 h 51323"/>
                <a:gd name="connsiteX757" fmla="*/ 4724 w 51323"/>
                <a:gd name="connsiteY757" fmla="*/ 27190 h 51323"/>
                <a:gd name="connsiteX758" fmla="*/ 4724 w 51323"/>
                <a:gd name="connsiteY758" fmla="*/ 27190 h 51323"/>
                <a:gd name="connsiteX759" fmla="*/ 4724 w 51323"/>
                <a:gd name="connsiteY759" fmla="*/ 27345 h 51323"/>
                <a:gd name="connsiteX760" fmla="*/ 4724 w 51323"/>
                <a:gd name="connsiteY760" fmla="*/ 27448 h 51323"/>
                <a:gd name="connsiteX761" fmla="*/ 4724 w 51323"/>
                <a:gd name="connsiteY761" fmla="*/ 27448 h 51323"/>
                <a:gd name="connsiteX762" fmla="*/ 4724 w 51323"/>
                <a:gd name="connsiteY762" fmla="*/ 28152 h 51323"/>
                <a:gd name="connsiteX763" fmla="*/ 4724 w 51323"/>
                <a:gd name="connsiteY763" fmla="*/ 28152 h 51323"/>
                <a:gd name="connsiteX764" fmla="*/ 4724 w 51323"/>
                <a:gd name="connsiteY764" fmla="*/ 28616 h 51323"/>
                <a:gd name="connsiteX765" fmla="*/ 4724 w 51323"/>
                <a:gd name="connsiteY765" fmla="*/ 28444 h 51323"/>
                <a:gd name="connsiteX766" fmla="*/ 4724 w 51323"/>
                <a:gd name="connsiteY766" fmla="*/ 28805 h 51323"/>
                <a:gd name="connsiteX767" fmla="*/ 4724 w 51323"/>
                <a:gd name="connsiteY767" fmla="*/ 28719 h 51323"/>
                <a:gd name="connsiteX768" fmla="*/ 4724 w 51323"/>
                <a:gd name="connsiteY768" fmla="*/ 29149 h 51323"/>
                <a:gd name="connsiteX769" fmla="*/ 4930 w 51323"/>
                <a:gd name="connsiteY769" fmla="*/ 29733 h 51323"/>
                <a:gd name="connsiteX770" fmla="*/ 5634 w 51323"/>
                <a:gd name="connsiteY770" fmla="*/ 30471 h 51323"/>
                <a:gd name="connsiteX771" fmla="*/ 5960 w 51323"/>
                <a:gd name="connsiteY771" fmla="*/ 29595 h 51323"/>
                <a:gd name="connsiteX772" fmla="*/ 5960 w 51323"/>
                <a:gd name="connsiteY772" fmla="*/ 29475 h 51323"/>
                <a:gd name="connsiteX773" fmla="*/ 6355 w 51323"/>
                <a:gd name="connsiteY773" fmla="*/ 29234 h 51323"/>
                <a:gd name="connsiteX774" fmla="*/ 6355 w 51323"/>
                <a:gd name="connsiteY774" fmla="*/ 30145 h 51323"/>
                <a:gd name="connsiteX775" fmla="*/ 6665 w 51323"/>
                <a:gd name="connsiteY775" fmla="*/ 29664 h 51323"/>
                <a:gd name="connsiteX776" fmla="*/ 6665 w 51323"/>
                <a:gd name="connsiteY776" fmla="*/ 29441 h 51323"/>
                <a:gd name="connsiteX777" fmla="*/ 6785 w 51323"/>
                <a:gd name="connsiteY777" fmla="*/ 29733 h 51323"/>
                <a:gd name="connsiteX778" fmla="*/ 7060 w 51323"/>
                <a:gd name="connsiteY778" fmla="*/ 30007 h 51323"/>
                <a:gd name="connsiteX779" fmla="*/ 7472 w 51323"/>
                <a:gd name="connsiteY779" fmla="*/ 30196 h 51323"/>
                <a:gd name="connsiteX780" fmla="*/ 8262 w 51323"/>
                <a:gd name="connsiteY780" fmla="*/ 30402 h 51323"/>
                <a:gd name="connsiteX781" fmla="*/ 8262 w 51323"/>
                <a:gd name="connsiteY781" fmla="*/ 30643 h 51323"/>
                <a:gd name="connsiteX782" fmla="*/ 8434 w 51323"/>
                <a:gd name="connsiteY782" fmla="*/ 31107 h 51323"/>
                <a:gd name="connsiteX783" fmla="*/ 9189 w 51323"/>
                <a:gd name="connsiteY783" fmla="*/ 32000 h 51323"/>
                <a:gd name="connsiteX784" fmla="*/ 9550 w 51323"/>
                <a:gd name="connsiteY784" fmla="*/ 32309 h 51323"/>
                <a:gd name="connsiteX785" fmla="*/ 10220 w 51323"/>
                <a:gd name="connsiteY785" fmla="*/ 32532 h 51323"/>
                <a:gd name="connsiteX786" fmla="*/ 10856 w 51323"/>
                <a:gd name="connsiteY786" fmla="*/ 33151 h 51323"/>
                <a:gd name="connsiteX787" fmla="*/ 11302 w 51323"/>
                <a:gd name="connsiteY787" fmla="*/ 33924 h 51323"/>
                <a:gd name="connsiteX788" fmla="*/ 11045 w 51323"/>
                <a:gd name="connsiteY788" fmla="*/ 34868 h 51323"/>
                <a:gd name="connsiteX789" fmla="*/ 11148 w 51323"/>
                <a:gd name="connsiteY789" fmla="*/ 34868 h 51323"/>
                <a:gd name="connsiteX790" fmla="*/ 11337 w 51323"/>
                <a:gd name="connsiteY790" fmla="*/ 34731 h 51323"/>
                <a:gd name="connsiteX791" fmla="*/ 11337 w 51323"/>
                <a:gd name="connsiteY791" fmla="*/ 34731 h 51323"/>
                <a:gd name="connsiteX792" fmla="*/ 11337 w 51323"/>
                <a:gd name="connsiteY792" fmla="*/ 35092 h 51323"/>
                <a:gd name="connsiteX793" fmla="*/ 11680 w 51323"/>
                <a:gd name="connsiteY793" fmla="*/ 35624 h 51323"/>
                <a:gd name="connsiteX794" fmla="*/ 12419 w 51323"/>
                <a:gd name="connsiteY794" fmla="*/ 35074 h 51323"/>
                <a:gd name="connsiteX795" fmla="*/ 12642 w 51323"/>
                <a:gd name="connsiteY795" fmla="*/ 35263 h 51323"/>
                <a:gd name="connsiteX796" fmla="*/ 12882 w 51323"/>
                <a:gd name="connsiteY796" fmla="*/ 35469 h 51323"/>
                <a:gd name="connsiteX797" fmla="*/ 12968 w 51323"/>
                <a:gd name="connsiteY797" fmla="*/ 35830 h 51323"/>
                <a:gd name="connsiteX798" fmla="*/ 12968 w 51323"/>
                <a:gd name="connsiteY798" fmla="*/ 35710 h 51323"/>
                <a:gd name="connsiteX799" fmla="*/ 12968 w 51323"/>
                <a:gd name="connsiteY799" fmla="*/ 35504 h 51323"/>
                <a:gd name="connsiteX800" fmla="*/ 13363 w 51323"/>
                <a:gd name="connsiteY800" fmla="*/ 35641 h 51323"/>
                <a:gd name="connsiteX801" fmla="*/ 13466 w 51323"/>
                <a:gd name="connsiteY801" fmla="*/ 35744 h 51323"/>
                <a:gd name="connsiteX802" fmla="*/ 13466 w 51323"/>
                <a:gd name="connsiteY802" fmla="*/ 35744 h 51323"/>
                <a:gd name="connsiteX803" fmla="*/ 13466 w 51323"/>
                <a:gd name="connsiteY803" fmla="*/ 35744 h 51323"/>
                <a:gd name="connsiteX804" fmla="*/ 13466 w 51323"/>
                <a:gd name="connsiteY804" fmla="*/ 35744 h 51323"/>
                <a:gd name="connsiteX805" fmla="*/ 14926 w 51323"/>
                <a:gd name="connsiteY805" fmla="*/ 38922 h 51323"/>
                <a:gd name="connsiteX806" fmla="*/ 14926 w 51323"/>
                <a:gd name="connsiteY806" fmla="*/ 38819 h 51323"/>
                <a:gd name="connsiteX807" fmla="*/ 14806 w 51323"/>
                <a:gd name="connsiteY807" fmla="*/ 38819 h 51323"/>
                <a:gd name="connsiteX808" fmla="*/ 14806 w 51323"/>
                <a:gd name="connsiteY808" fmla="*/ 38819 h 51323"/>
                <a:gd name="connsiteX809" fmla="*/ 14806 w 51323"/>
                <a:gd name="connsiteY809" fmla="*/ 41447 h 51323"/>
                <a:gd name="connsiteX810" fmla="*/ 14806 w 51323"/>
                <a:gd name="connsiteY810" fmla="*/ 41447 h 51323"/>
                <a:gd name="connsiteX811" fmla="*/ 14600 w 51323"/>
                <a:gd name="connsiteY811" fmla="*/ 41447 h 51323"/>
                <a:gd name="connsiteX812" fmla="*/ 14600 w 51323"/>
                <a:gd name="connsiteY812" fmla="*/ 41687 h 51323"/>
                <a:gd name="connsiteX813" fmla="*/ 14154 w 51323"/>
                <a:gd name="connsiteY813" fmla="*/ 41962 h 51323"/>
                <a:gd name="connsiteX814" fmla="*/ 14154 w 51323"/>
                <a:gd name="connsiteY814" fmla="*/ 41962 h 51323"/>
                <a:gd name="connsiteX815" fmla="*/ 14154 w 51323"/>
                <a:gd name="connsiteY815" fmla="*/ 42048 h 51323"/>
                <a:gd name="connsiteX816" fmla="*/ 14154 w 51323"/>
                <a:gd name="connsiteY816" fmla="*/ 42048 h 51323"/>
                <a:gd name="connsiteX817" fmla="*/ 14411 w 51323"/>
                <a:gd name="connsiteY817" fmla="*/ 42529 h 51323"/>
                <a:gd name="connsiteX818" fmla="*/ 14411 w 51323"/>
                <a:gd name="connsiteY818" fmla="*/ 43336 h 51323"/>
                <a:gd name="connsiteX819" fmla="*/ 14411 w 51323"/>
                <a:gd name="connsiteY819" fmla="*/ 43250 h 51323"/>
                <a:gd name="connsiteX820" fmla="*/ 14411 w 51323"/>
                <a:gd name="connsiteY820" fmla="*/ 43113 h 51323"/>
                <a:gd name="connsiteX821" fmla="*/ 14171 w 51323"/>
                <a:gd name="connsiteY821" fmla="*/ 42924 h 51323"/>
                <a:gd name="connsiteX822" fmla="*/ 14325 w 51323"/>
                <a:gd name="connsiteY822" fmla="*/ 43113 h 51323"/>
                <a:gd name="connsiteX823" fmla="*/ 14325 w 51323"/>
                <a:gd name="connsiteY823" fmla="*/ 43250 h 51323"/>
                <a:gd name="connsiteX824" fmla="*/ 13844 w 51323"/>
                <a:gd name="connsiteY824" fmla="*/ 43817 h 51323"/>
                <a:gd name="connsiteX825" fmla="*/ 14549 w 51323"/>
                <a:gd name="connsiteY825" fmla="*/ 44418 h 51323"/>
                <a:gd name="connsiteX826" fmla="*/ 14549 w 51323"/>
                <a:gd name="connsiteY826" fmla="*/ 44418 h 51323"/>
                <a:gd name="connsiteX827" fmla="*/ 14755 w 51323"/>
                <a:gd name="connsiteY827" fmla="*/ 44693 h 51323"/>
                <a:gd name="connsiteX828" fmla="*/ 14755 w 51323"/>
                <a:gd name="connsiteY828" fmla="*/ 44693 h 51323"/>
                <a:gd name="connsiteX829" fmla="*/ 14755 w 51323"/>
                <a:gd name="connsiteY829" fmla="*/ 44882 h 51323"/>
                <a:gd name="connsiteX830" fmla="*/ 14291 w 51323"/>
                <a:gd name="connsiteY830" fmla="*/ 44882 h 51323"/>
                <a:gd name="connsiteX831" fmla="*/ 14566 w 51323"/>
                <a:gd name="connsiteY831" fmla="*/ 45123 h 51323"/>
                <a:gd name="connsiteX832" fmla="*/ 14566 w 51323"/>
                <a:gd name="connsiteY832" fmla="*/ 45123 h 51323"/>
                <a:gd name="connsiteX833" fmla="*/ 14463 w 51323"/>
                <a:gd name="connsiteY833" fmla="*/ 45294 h 51323"/>
                <a:gd name="connsiteX834" fmla="*/ 15012 w 51323"/>
                <a:gd name="connsiteY834" fmla="*/ 45707 h 51323"/>
                <a:gd name="connsiteX835" fmla="*/ 15012 w 51323"/>
                <a:gd name="connsiteY835" fmla="*/ 45707 h 51323"/>
                <a:gd name="connsiteX836" fmla="*/ 15012 w 51323"/>
                <a:gd name="connsiteY836" fmla="*/ 45707 h 51323"/>
                <a:gd name="connsiteX837" fmla="*/ 15717 w 51323"/>
                <a:gd name="connsiteY837" fmla="*/ 46359 h 51323"/>
                <a:gd name="connsiteX838" fmla="*/ 15717 w 51323"/>
                <a:gd name="connsiteY838" fmla="*/ 46359 h 51323"/>
                <a:gd name="connsiteX839" fmla="*/ 15717 w 51323"/>
                <a:gd name="connsiteY839" fmla="*/ 46359 h 51323"/>
                <a:gd name="connsiteX840" fmla="*/ 15717 w 51323"/>
                <a:gd name="connsiteY840" fmla="*/ 46359 h 51323"/>
                <a:gd name="connsiteX841" fmla="*/ 16730 w 51323"/>
                <a:gd name="connsiteY841" fmla="*/ 47012 h 51323"/>
                <a:gd name="connsiteX842" fmla="*/ 16730 w 51323"/>
                <a:gd name="connsiteY842" fmla="*/ 47012 h 51323"/>
                <a:gd name="connsiteX843" fmla="*/ 16730 w 51323"/>
                <a:gd name="connsiteY843" fmla="*/ 47012 h 51323"/>
                <a:gd name="connsiteX844" fmla="*/ 16730 w 51323"/>
                <a:gd name="connsiteY844" fmla="*/ 47012 h 51323"/>
                <a:gd name="connsiteX845" fmla="*/ 16885 w 51323"/>
                <a:gd name="connsiteY845" fmla="*/ 47132 h 51323"/>
                <a:gd name="connsiteX846" fmla="*/ 16885 w 51323"/>
                <a:gd name="connsiteY846" fmla="*/ 47132 h 51323"/>
                <a:gd name="connsiteX847" fmla="*/ 17091 w 51323"/>
                <a:gd name="connsiteY847" fmla="*/ 47270 h 51323"/>
                <a:gd name="connsiteX848" fmla="*/ 16988 w 51323"/>
                <a:gd name="connsiteY848" fmla="*/ 47270 h 51323"/>
                <a:gd name="connsiteX849" fmla="*/ 17898 w 51323"/>
                <a:gd name="connsiteY849" fmla="*/ 47751 h 51323"/>
                <a:gd name="connsiteX850" fmla="*/ 17898 w 51323"/>
                <a:gd name="connsiteY850" fmla="*/ 47751 h 51323"/>
                <a:gd name="connsiteX851" fmla="*/ 17898 w 51323"/>
                <a:gd name="connsiteY851" fmla="*/ 47751 h 51323"/>
                <a:gd name="connsiteX852" fmla="*/ 17898 w 51323"/>
                <a:gd name="connsiteY852" fmla="*/ 47751 h 51323"/>
                <a:gd name="connsiteX853" fmla="*/ 18396 w 51323"/>
                <a:gd name="connsiteY853" fmla="*/ 48008 h 51323"/>
                <a:gd name="connsiteX854" fmla="*/ 18173 w 51323"/>
                <a:gd name="connsiteY854" fmla="*/ 48008 h 51323"/>
                <a:gd name="connsiteX855" fmla="*/ 20560 w 51323"/>
                <a:gd name="connsiteY855" fmla="*/ 10117 h 51323"/>
                <a:gd name="connsiteX856" fmla="*/ 20560 w 51323"/>
                <a:gd name="connsiteY856" fmla="*/ 9980 h 51323"/>
                <a:gd name="connsiteX857" fmla="*/ 20286 w 51323"/>
                <a:gd name="connsiteY857" fmla="*/ 10323 h 51323"/>
                <a:gd name="connsiteX858" fmla="*/ 19289 w 51323"/>
                <a:gd name="connsiteY858" fmla="*/ 10907 h 51323"/>
                <a:gd name="connsiteX859" fmla="*/ 19152 w 51323"/>
                <a:gd name="connsiteY859" fmla="*/ 11165 h 51323"/>
                <a:gd name="connsiteX860" fmla="*/ 19152 w 51323"/>
                <a:gd name="connsiteY860" fmla="*/ 11165 h 51323"/>
                <a:gd name="connsiteX861" fmla="*/ 18997 w 51323"/>
                <a:gd name="connsiteY861" fmla="*/ 11165 h 51323"/>
                <a:gd name="connsiteX862" fmla="*/ 18585 w 51323"/>
                <a:gd name="connsiteY862" fmla="*/ 11577 h 51323"/>
                <a:gd name="connsiteX863" fmla="*/ 18259 w 51323"/>
                <a:gd name="connsiteY863" fmla="*/ 11903 h 51323"/>
                <a:gd name="connsiteX864" fmla="*/ 18001 w 51323"/>
                <a:gd name="connsiteY864" fmla="*/ 12109 h 51323"/>
                <a:gd name="connsiteX865" fmla="*/ 17743 w 51323"/>
                <a:gd name="connsiteY865" fmla="*/ 12006 h 51323"/>
                <a:gd name="connsiteX866" fmla="*/ 17503 w 51323"/>
                <a:gd name="connsiteY866" fmla="*/ 11783 h 51323"/>
                <a:gd name="connsiteX867" fmla="*/ 18018 w 51323"/>
                <a:gd name="connsiteY867" fmla="*/ 10461 h 51323"/>
                <a:gd name="connsiteX868" fmla="*/ 18448 w 51323"/>
                <a:gd name="connsiteY868" fmla="*/ 10134 h 51323"/>
                <a:gd name="connsiteX869" fmla="*/ 18448 w 51323"/>
                <a:gd name="connsiteY869" fmla="*/ 9739 h 51323"/>
                <a:gd name="connsiteX870" fmla="*/ 18345 w 51323"/>
                <a:gd name="connsiteY870" fmla="*/ 9739 h 51323"/>
                <a:gd name="connsiteX871" fmla="*/ 18963 w 51323"/>
                <a:gd name="connsiteY871" fmla="*/ 9344 h 51323"/>
                <a:gd name="connsiteX872" fmla="*/ 18774 w 51323"/>
                <a:gd name="connsiteY872" fmla="*/ 9104 h 51323"/>
                <a:gd name="connsiteX873" fmla="*/ 19324 w 51323"/>
                <a:gd name="connsiteY873" fmla="*/ 9104 h 51323"/>
                <a:gd name="connsiteX874" fmla="*/ 19324 w 51323"/>
                <a:gd name="connsiteY874" fmla="*/ 8966 h 51323"/>
                <a:gd name="connsiteX875" fmla="*/ 18946 w 51323"/>
                <a:gd name="connsiteY875" fmla="*/ 8966 h 51323"/>
                <a:gd name="connsiteX876" fmla="*/ 19598 w 51323"/>
                <a:gd name="connsiteY876" fmla="*/ 8674 h 51323"/>
                <a:gd name="connsiteX877" fmla="*/ 19598 w 51323"/>
                <a:gd name="connsiteY877" fmla="*/ 8674 h 51323"/>
                <a:gd name="connsiteX878" fmla="*/ 20182 w 51323"/>
                <a:gd name="connsiteY878" fmla="*/ 8193 h 51323"/>
                <a:gd name="connsiteX879" fmla="*/ 20354 w 51323"/>
                <a:gd name="connsiteY879" fmla="*/ 7953 h 51323"/>
                <a:gd name="connsiteX880" fmla="*/ 20560 w 51323"/>
                <a:gd name="connsiteY880" fmla="*/ 7764 h 51323"/>
                <a:gd name="connsiteX881" fmla="*/ 20681 w 51323"/>
                <a:gd name="connsiteY881" fmla="*/ 7386 h 51323"/>
                <a:gd name="connsiteX882" fmla="*/ 21746 w 51323"/>
                <a:gd name="connsiteY882" fmla="*/ 6338 h 51323"/>
                <a:gd name="connsiteX883" fmla="*/ 22914 w 51323"/>
                <a:gd name="connsiteY883" fmla="*/ 4981 h 51323"/>
                <a:gd name="connsiteX884" fmla="*/ 23326 w 51323"/>
                <a:gd name="connsiteY884" fmla="*/ 4844 h 51323"/>
                <a:gd name="connsiteX885" fmla="*/ 26761 w 51323"/>
                <a:gd name="connsiteY885" fmla="*/ 3693 h 51323"/>
                <a:gd name="connsiteX886" fmla="*/ 26881 w 51323"/>
                <a:gd name="connsiteY886" fmla="*/ 3693 h 51323"/>
                <a:gd name="connsiteX887" fmla="*/ 26607 w 51323"/>
                <a:gd name="connsiteY887" fmla="*/ 3951 h 51323"/>
                <a:gd name="connsiteX888" fmla="*/ 26211 w 51323"/>
                <a:gd name="connsiteY888" fmla="*/ 4208 h 51323"/>
                <a:gd name="connsiteX889" fmla="*/ 26211 w 51323"/>
                <a:gd name="connsiteY889" fmla="*/ 4329 h 51323"/>
                <a:gd name="connsiteX890" fmla="*/ 26074 w 51323"/>
                <a:gd name="connsiteY890" fmla="*/ 4500 h 51323"/>
                <a:gd name="connsiteX891" fmla="*/ 26383 w 51323"/>
                <a:gd name="connsiteY891" fmla="*/ 4621 h 51323"/>
                <a:gd name="connsiteX892" fmla="*/ 26057 w 51323"/>
                <a:gd name="connsiteY892" fmla="*/ 4947 h 51323"/>
                <a:gd name="connsiteX893" fmla="*/ 25301 w 51323"/>
                <a:gd name="connsiteY893" fmla="*/ 6235 h 51323"/>
                <a:gd name="connsiteX894" fmla="*/ 25112 w 51323"/>
                <a:gd name="connsiteY894" fmla="*/ 6373 h 51323"/>
                <a:gd name="connsiteX895" fmla="*/ 25009 w 51323"/>
                <a:gd name="connsiteY895" fmla="*/ 6596 h 51323"/>
                <a:gd name="connsiteX896" fmla="*/ 24751 w 51323"/>
                <a:gd name="connsiteY896" fmla="*/ 6596 h 51323"/>
                <a:gd name="connsiteX897" fmla="*/ 24751 w 51323"/>
                <a:gd name="connsiteY897" fmla="*/ 6768 h 51323"/>
                <a:gd name="connsiteX898" fmla="*/ 24751 w 51323"/>
                <a:gd name="connsiteY898" fmla="*/ 7180 h 51323"/>
                <a:gd name="connsiteX899" fmla="*/ 24442 w 51323"/>
                <a:gd name="connsiteY899" fmla="*/ 7489 h 51323"/>
                <a:gd name="connsiteX900" fmla="*/ 24133 w 51323"/>
                <a:gd name="connsiteY900" fmla="*/ 7489 h 51323"/>
                <a:gd name="connsiteX901" fmla="*/ 23738 w 51323"/>
                <a:gd name="connsiteY901" fmla="*/ 7626 h 51323"/>
                <a:gd name="connsiteX902" fmla="*/ 23738 w 51323"/>
                <a:gd name="connsiteY902" fmla="*/ 7781 h 51323"/>
                <a:gd name="connsiteX903" fmla="*/ 23824 w 51323"/>
                <a:gd name="connsiteY903" fmla="*/ 7987 h 51323"/>
                <a:gd name="connsiteX904" fmla="*/ 23583 w 51323"/>
                <a:gd name="connsiteY904" fmla="*/ 8262 h 51323"/>
                <a:gd name="connsiteX905" fmla="*/ 23137 w 51323"/>
                <a:gd name="connsiteY905" fmla="*/ 8520 h 51323"/>
                <a:gd name="connsiteX906" fmla="*/ 22931 w 51323"/>
                <a:gd name="connsiteY906" fmla="*/ 8726 h 51323"/>
                <a:gd name="connsiteX907" fmla="*/ 22931 w 51323"/>
                <a:gd name="connsiteY907" fmla="*/ 8846 h 51323"/>
                <a:gd name="connsiteX908" fmla="*/ 23446 w 51323"/>
                <a:gd name="connsiteY908" fmla="*/ 9121 h 51323"/>
                <a:gd name="connsiteX909" fmla="*/ 23137 w 51323"/>
                <a:gd name="connsiteY909" fmla="*/ 9275 h 51323"/>
                <a:gd name="connsiteX910" fmla="*/ 21952 w 51323"/>
                <a:gd name="connsiteY910" fmla="*/ 9396 h 51323"/>
                <a:gd name="connsiteX911" fmla="*/ 21831 w 51323"/>
                <a:gd name="connsiteY911" fmla="*/ 9653 h 51323"/>
                <a:gd name="connsiteX912" fmla="*/ 20560 w 51323"/>
                <a:gd name="connsiteY912" fmla="*/ 10117 h 51323"/>
                <a:gd name="connsiteX913" fmla="*/ 23669 w 51323"/>
                <a:gd name="connsiteY913" fmla="*/ 11440 h 51323"/>
                <a:gd name="connsiteX914" fmla="*/ 23412 w 51323"/>
                <a:gd name="connsiteY914" fmla="*/ 11440 h 51323"/>
                <a:gd name="connsiteX915" fmla="*/ 23274 w 51323"/>
                <a:gd name="connsiteY915" fmla="*/ 11319 h 51323"/>
                <a:gd name="connsiteX916" fmla="*/ 23274 w 51323"/>
                <a:gd name="connsiteY916" fmla="*/ 11319 h 51323"/>
                <a:gd name="connsiteX917" fmla="*/ 22965 w 51323"/>
                <a:gd name="connsiteY917" fmla="*/ 11319 h 51323"/>
                <a:gd name="connsiteX918" fmla="*/ 22965 w 51323"/>
                <a:gd name="connsiteY918" fmla="*/ 11319 h 51323"/>
                <a:gd name="connsiteX919" fmla="*/ 22965 w 51323"/>
                <a:gd name="connsiteY919" fmla="*/ 11233 h 51323"/>
                <a:gd name="connsiteX920" fmla="*/ 22965 w 51323"/>
                <a:gd name="connsiteY920" fmla="*/ 11233 h 51323"/>
                <a:gd name="connsiteX921" fmla="*/ 23206 w 51323"/>
                <a:gd name="connsiteY921" fmla="*/ 11148 h 51323"/>
                <a:gd name="connsiteX922" fmla="*/ 23206 w 51323"/>
                <a:gd name="connsiteY922" fmla="*/ 11027 h 51323"/>
                <a:gd name="connsiteX923" fmla="*/ 23206 w 51323"/>
                <a:gd name="connsiteY923" fmla="*/ 10941 h 51323"/>
                <a:gd name="connsiteX924" fmla="*/ 22948 w 51323"/>
                <a:gd name="connsiteY924" fmla="*/ 10821 h 51323"/>
                <a:gd name="connsiteX925" fmla="*/ 23223 w 51323"/>
                <a:gd name="connsiteY925" fmla="*/ 10821 h 51323"/>
                <a:gd name="connsiteX926" fmla="*/ 23412 w 51323"/>
                <a:gd name="connsiteY926" fmla="*/ 10718 h 51323"/>
                <a:gd name="connsiteX927" fmla="*/ 23412 w 51323"/>
                <a:gd name="connsiteY927" fmla="*/ 10718 h 51323"/>
                <a:gd name="connsiteX928" fmla="*/ 23412 w 51323"/>
                <a:gd name="connsiteY928" fmla="*/ 10632 h 51323"/>
                <a:gd name="connsiteX929" fmla="*/ 23412 w 51323"/>
                <a:gd name="connsiteY929" fmla="*/ 10632 h 51323"/>
                <a:gd name="connsiteX930" fmla="*/ 23412 w 51323"/>
                <a:gd name="connsiteY930" fmla="*/ 10632 h 51323"/>
                <a:gd name="connsiteX931" fmla="*/ 23412 w 51323"/>
                <a:gd name="connsiteY931" fmla="*/ 10632 h 51323"/>
                <a:gd name="connsiteX932" fmla="*/ 23291 w 51323"/>
                <a:gd name="connsiteY932" fmla="*/ 10632 h 51323"/>
                <a:gd name="connsiteX933" fmla="*/ 23291 w 51323"/>
                <a:gd name="connsiteY933" fmla="*/ 10632 h 51323"/>
                <a:gd name="connsiteX934" fmla="*/ 23291 w 51323"/>
                <a:gd name="connsiteY934" fmla="*/ 10632 h 51323"/>
                <a:gd name="connsiteX935" fmla="*/ 23291 w 51323"/>
                <a:gd name="connsiteY935" fmla="*/ 10632 h 51323"/>
                <a:gd name="connsiteX936" fmla="*/ 23291 w 51323"/>
                <a:gd name="connsiteY936" fmla="*/ 10632 h 51323"/>
                <a:gd name="connsiteX937" fmla="*/ 23291 w 51323"/>
                <a:gd name="connsiteY937" fmla="*/ 10632 h 51323"/>
                <a:gd name="connsiteX938" fmla="*/ 23291 w 51323"/>
                <a:gd name="connsiteY938" fmla="*/ 10632 h 51323"/>
                <a:gd name="connsiteX939" fmla="*/ 23291 w 51323"/>
                <a:gd name="connsiteY939" fmla="*/ 10478 h 51323"/>
                <a:gd name="connsiteX940" fmla="*/ 23291 w 51323"/>
                <a:gd name="connsiteY940" fmla="*/ 10581 h 51323"/>
                <a:gd name="connsiteX941" fmla="*/ 23291 w 51323"/>
                <a:gd name="connsiteY941" fmla="*/ 10581 h 51323"/>
                <a:gd name="connsiteX942" fmla="*/ 23291 w 51323"/>
                <a:gd name="connsiteY942" fmla="*/ 10581 h 51323"/>
                <a:gd name="connsiteX943" fmla="*/ 23291 w 51323"/>
                <a:gd name="connsiteY943" fmla="*/ 10667 h 51323"/>
                <a:gd name="connsiteX944" fmla="*/ 23291 w 51323"/>
                <a:gd name="connsiteY944" fmla="*/ 10787 h 51323"/>
                <a:gd name="connsiteX945" fmla="*/ 23291 w 51323"/>
                <a:gd name="connsiteY945" fmla="*/ 10873 h 51323"/>
                <a:gd name="connsiteX946" fmla="*/ 23429 w 51323"/>
                <a:gd name="connsiteY946" fmla="*/ 10701 h 51323"/>
                <a:gd name="connsiteX947" fmla="*/ 23601 w 51323"/>
                <a:gd name="connsiteY947" fmla="*/ 10461 h 51323"/>
                <a:gd name="connsiteX948" fmla="*/ 23601 w 51323"/>
                <a:gd name="connsiteY948" fmla="*/ 10598 h 51323"/>
                <a:gd name="connsiteX949" fmla="*/ 23790 w 51323"/>
                <a:gd name="connsiteY949" fmla="*/ 10478 h 51323"/>
                <a:gd name="connsiteX950" fmla="*/ 23790 w 51323"/>
                <a:gd name="connsiteY950" fmla="*/ 10787 h 51323"/>
                <a:gd name="connsiteX951" fmla="*/ 23961 w 51323"/>
                <a:gd name="connsiteY951" fmla="*/ 10512 h 51323"/>
                <a:gd name="connsiteX952" fmla="*/ 24099 w 51323"/>
                <a:gd name="connsiteY952" fmla="*/ 10512 h 51323"/>
                <a:gd name="connsiteX953" fmla="*/ 24322 w 51323"/>
                <a:gd name="connsiteY953" fmla="*/ 10512 h 51323"/>
                <a:gd name="connsiteX954" fmla="*/ 24528 w 51323"/>
                <a:gd name="connsiteY954" fmla="*/ 10512 h 51323"/>
                <a:gd name="connsiteX955" fmla="*/ 24528 w 51323"/>
                <a:gd name="connsiteY955" fmla="*/ 10632 h 51323"/>
                <a:gd name="connsiteX956" fmla="*/ 24528 w 51323"/>
                <a:gd name="connsiteY956" fmla="*/ 10804 h 51323"/>
                <a:gd name="connsiteX957" fmla="*/ 24528 w 51323"/>
                <a:gd name="connsiteY957" fmla="*/ 10804 h 51323"/>
                <a:gd name="connsiteX958" fmla="*/ 24528 w 51323"/>
                <a:gd name="connsiteY958" fmla="*/ 10924 h 51323"/>
                <a:gd name="connsiteX959" fmla="*/ 24528 w 51323"/>
                <a:gd name="connsiteY959" fmla="*/ 11148 h 51323"/>
                <a:gd name="connsiteX960" fmla="*/ 24288 w 51323"/>
                <a:gd name="connsiteY960" fmla="*/ 11148 h 51323"/>
                <a:gd name="connsiteX961" fmla="*/ 23978 w 51323"/>
                <a:gd name="connsiteY961" fmla="*/ 11388 h 51323"/>
                <a:gd name="connsiteX962" fmla="*/ 23978 w 51323"/>
                <a:gd name="connsiteY962" fmla="*/ 11388 h 51323"/>
                <a:gd name="connsiteX963" fmla="*/ 23790 w 51323"/>
                <a:gd name="connsiteY963" fmla="*/ 11388 h 51323"/>
                <a:gd name="connsiteX964" fmla="*/ 23790 w 51323"/>
                <a:gd name="connsiteY964" fmla="*/ 11388 h 51323"/>
                <a:gd name="connsiteX965" fmla="*/ 23669 w 51323"/>
                <a:gd name="connsiteY965" fmla="*/ 11440 h 51323"/>
                <a:gd name="connsiteX966" fmla="*/ 38184 w 51323"/>
                <a:gd name="connsiteY966" fmla="*/ 41533 h 51323"/>
                <a:gd name="connsiteX967" fmla="*/ 38802 w 51323"/>
                <a:gd name="connsiteY967" fmla="*/ 40640 h 51323"/>
                <a:gd name="connsiteX968" fmla="*/ 39540 w 51323"/>
                <a:gd name="connsiteY968" fmla="*/ 39523 h 51323"/>
                <a:gd name="connsiteX969" fmla="*/ 39540 w 51323"/>
                <a:gd name="connsiteY969" fmla="*/ 39523 h 51323"/>
                <a:gd name="connsiteX970" fmla="*/ 39540 w 51323"/>
                <a:gd name="connsiteY970" fmla="*/ 39523 h 51323"/>
                <a:gd name="connsiteX971" fmla="*/ 39781 w 51323"/>
                <a:gd name="connsiteY971" fmla="*/ 39386 h 51323"/>
                <a:gd name="connsiteX972" fmla="*/ 39953 w 51323"/>
                <a:gd name="connsiteY972" fmla="*/ 39386 h 51323"/>
                <a:gd name="connsiteX973" fmla="*/ 39953 w 51323"/>
                <a:gd name="connsiteY973" fmla="*/ 39386 h 51323"/>
                <a:gd name="connsiteX974" fmla="*/ 39953 w 51323"/>
                <a:gd name="connsiteY974" fmla="*/ 39248 h 51323"/>
                <a:gd name="connsiteX975" fmla="*/ 39953 w 51323"/>
                <a:gd name="connsiteY975" fmla="*/ 39248 h 51323"/>
                <a:gd name="connsiteX976" fmla="*/ 39953 w 51323"/>
                <a:gd name="connsiteY976" fmla="*/ 39248 h 51323"/>
                <a:gd name="connsiteX977" fmla="*/ 39953 w 51323"/>
                <a:gd name="connsiteY977" fmla="*/ 39369 h 51323"/>
                <a:gd name="connsiteX978" fmla="*/ 40107 w 51323"/>
                <a:gd name="connsiteY978" fmla="*/ 39266 h 51323"/>
                <a:gd name="connsiteX979" fmla="*/ 40107 w 51323"/>
                <a:gd name="connsiteY979" fmla="*/ 39145 h 51323"/>
                <a:gd name="connsiteX980" fmla="*/ 40107 w 51323"/>
                <a:gd name="connsiteY980" fmla="*/ 39042 h 51323"/>
                <a:gd name="connsiteX981" fmla="*/ 40262 w 51323"/>
                <a:gd name="connsiteY981" fmla="*/ 38939 h 51323"/>
                <a:gd name="connsiteX982" fmla="*/ 40485 w 51323"/>
                <a:gd name="connsiteY982" fmla="*/ 38561 h 51323"/>
                <a:gd name="connsiteX983" fmla="*/ 40674 w 51323"/>
                <a:gd name="connsiteY983" fmla="*/ 38441 h 51323"/>
                <a:gd name="connsiteX984" fmla="*/ 40674 w 51323"/>
                <a:gd name="connsiteY984" fmla="*/ 38664 h 51323"/>
                <a:gd name="connsiteX985" fmla="*/ 38184 w 51323"/>
                <a:gd name="connsiteY985" fmla="*/ 41533 h 51323"/>
                <a:gd name="connsiteX986" fmla="*/ 49159 w 51323"/>
                <a:gd name="connsiteY986" fmla="*/ 26589 h 51323"/>
                <a:gd name="connsiteX987" fmla="*/ 49159 w 51323"/>
                <a:gd name="connsiteY987" fmla="*/ 26589 h 51323"/>
                <a:gd name="connsiteX988" fmla="*/ 48386 w 51323"/>
                <a:gd name="connsiteY988" fmla="*/ 30643 h 51323"/>
                <a:gd name="connsiteX989" fmla="*/ 48215 w 51323"/>
                <a:gd name="connsiteY989" fmla="*/ 30849 h 51323"/>
                <a:gd name="connsiteX990" fmla="*/ 47613 w 51323"/>
                <a:gd name="connsiteY990" fmla="*/ 26452 h 51323"/>
                <a:gd name="connsiteX991" fmla="*/ 47613 w 51323"/>
                <a:gd name="connsiteY991" fmla="*/ 26160 h 51323"/>
                <a:gd name="connsiteX992" fmla="*/ 47528 w 51323"/>
                <a:gd name="connsiteY992" fmla="*/ 26160 h 51323"/>
                <a:gd name="connsiteX993" fmla="*/ 47098 w 51323"/>
                <a:gd name="connsiteY993" fmla="*/ 26606 h 51323"/>
                <a:gd name="connsiteX994" fmla="*/ 46995 w 51323"/>
                <a:gd name="connsiteY994" fmla="*/ 26383 h 51323"/>
                <a:gd name="connsiteX995" fmla="*/ 46995 w 51323"/>
                <a:gd name="connsiteY995" fmla="*/ 26383 h 51323"/>
                <a:gd name="connsiteX996" fmla="*/ 46995 w 51323"/>
                <a:gd name="connsiteY996" fmla="*/ 26383 h 51323"/>
                <a:gd name="connsiteX997" fmla="*/ 47081 w 51323"/>
                <a:gd name="connsiteY997" fmla="*/ 26040 h 51323"/>
                <a:gd name="connsiteX998" fmla="*/ 46806 w 51323"/>
                <a:gd name="connsiteY998" fmla="*/ 25833 h 51323"/>
                <a:gd name="connsiteX999" fmla="*/ 46686 w 51323"/>
                <a:gd name="connsiteY999" fmla="*/ 25971 h 51323"/>
                <a:gd name="connsiteX1000" fmla="*/ 46549 w 51323"/>
                <a:gd name="connsiteY1000" fmla="*/ 25971 h 51323"/>
                <a:gd name="connsiteX1001" fmla="*/ 46428 w 51323"/>
                <a:gd name="connsiteY1001" fmla="*/ 25559 h 51323"/>
                <a:gd name="connsiteX1002" fmla="*/ 46119 w 51323"/>
                <a:gd name="connsiteY1002" fmla="*/ 25438 h 51323"/>
                <a:gd name="connsiteX1003" fmla="*/ 45913 w 51323"/>
                <a:gd name="connsiteY1003" fmla="*/ 25610 h 51323"/>
                <a:gd name="connsiteX1004" fmla="*/ 45741 w 51323"/>
                <a:gd name="connsiteY1004" fmla="*/ 25610 h 51323"/>
                <a:gd name="connsiteX1005" fmla="*/ 45552 w 51323"/>
                <a:gd name="connsiteY1005" fmla="*/ 25765 h 51323"/>
                <a:gd name="connsiteX1006" fmla="*/ 45432 w 51323"/>
                <a:gd name="connsiteY1006" fmla="*/ 25765 h 51323"/>
                <a:gd name="connsiteX1007" fmla="*/ 45209 w 51323"/>
                <a:gd name="connsiteY1007" fmla="*/ 25679 h 51323"/>
                <a:gd name="connsiteX1008" fmla="*/ 44728 w 51323"/>
                <a:gd name="connsiteY1008" fmla="*/ 25679 h 51323"/>
                <a:gd name="connsiteX1009" fmla="*/ 44453 w 51323"/>
                <a:gd name="connsiteY1009" fmla="*/ 25679 h 51323"/>
                <a:gd name="connsiteX1010" fmla="*/ 43663 w 51323"/>
                <a:gd name="connsiteY1010" fmla="*/ 25404 h 51323"/>
                <a:gd name="connsiteX1011" fmla="*/ 43285 w 51323"/>
                <a:gd name="connsiteY1011" fmla="*/ 25146 h 51323"/>
                <a:gd name="connsiteX1012" fmla="*/ 42804 w 51323"/>
                <a:gd name="connsiteY1012" fmla="*/ 24803 h 51323"/>
                <a:gd name="connsiteX1013" fmla="*/ 42804 w 51323"/>
                <a:gd name="connsiteY1013" fmla="*/ 24803 h 51323"/>
                <a:gd name="connsiteX1014" fmla="*/ 42375 w 51323"/>
                <a:gd name="connsiteY1014" fmla="*/ 24425 h 51323"/>
                <a:gd name="connsiteX1015" fmla="*/ 42272 w 51323"/>
                <a:gd name="connsiteY1015" fmla="*/ 24270 h 51323"/>
                <a:gd name="connsiteX1016" fmla="*/ 42272 w 51323"/>
                <a:gd name="connsiteY1016" fmla="*/ 24270 h 51323"/>
                <a:gd name="connsiteX1017" fmla="*/ 42272 w 51323"/>
                <a:gd name="connsiteY1017" fmla="*/ 24270 h 51323"/>
                <a:gd name="connsiteX1018" fmla="*/ 42100 w 51323"/>
                <a:gd name="connsiteY1018" fmla="*/ 24597 h 51323"/>
                <a:gd name="connsiteX1019" fmla="*/ 42220 w 51323"/>
                <a:gd name="connsiteY1019" fmla="*/ 24597 h 51323"/>
                <a:gd name="connsiteX1020" fmla="*/ 42220 w 51323"/>
                <a:gd name="connsiteY1020" fmla="*/ 24597 h 51323"/>
                <a:gd name="connsiteX1021" fmla="*/ 42220 w 51323"/>
                <a:gd name="connsiteY1021" fmla="*/ 24734 h 51323"/>
                <a:gd name="connsiteX1022" fmla="*/ 42220 w 51323"/>
                <a:gd name="connsiteY1022" fmla="*/ 24734 h 51323"/>
                <a:gd name="connsiteX1023" fmla="*/ 42512 w 51323"/>
                <a:gd name="connsiteY1023" fmla="*/ 25112 h 51323"/>
                <a:gd name="connsiteX1024" fmla="*/ 42770 w 51323"/>
                <a:gd name="connsiteY1024" fmla="*/ 25610 h 51323"/>
                <a:gd name="connsiteX1025" fmla="*/ 42770 w 51323"/>
                <a:gd name="connsiteY1025" fmla="*/ 25610 h 51323"/>
                <a:gd name="connsiteX1026" fmla="*/ 43045 w 51323"/>
                <a:gd name="connsiteY1026" fmla="*/ 25782 h 51323"/>
                <a:gd name="connsiteX1027" fmla="*/ 43165 w 51323"/>
                <a:gd name="connsiteY1027" fmla="*/ 25627 h 51323"/>
                <a:gd name="connsiteX1028" fmla="*/ 43165 w 51323"/>
                <a:gd name="connsiteY1028" fmla="*/ 26108 h 51323"/>
                <a:gd name="connsiteX1029" fmla="*/ 43165 w 51323"/>
                <a:gd name="connsiteY1029" fmla="*/ 26211 h 51323"/>
                <a:gd name="connsiteX1030" fmla="*/ 43165 w 51323"/>
                <a:gd name="connsiteY1030" fmla="*/ 26366 h 51323"/>
                <a:gd name="connsiteX1031" fmla="*/ 43766 w 51323"/>
                <a:gd name="connsiteY1031" fmla="*/ 26091 h 51323"/>
                <a:gd name="connsiteX1032" fmla="*/ 43766 w 51323"/>
                <a:gd name="connsiteY1032" fmla="*/ 26091 h 51323"/>
                <a:gd name="connsiteX1033" fmla="*/ 44058 w 51323"/>
                <a:gd name="connsiteY1033" fmla="*/ 25318 h 51323"/>
                <a:gd name="connsiteX1034" fmla="*/ 44058 w 51323"/>
                <a:gd name="connsiteY1034" fmla="*/ 25318 h 51323"/>
                <a:gd name="connsiteX1035" fmla="*/ 44058 w 51323"/>
                <a:gd name="connsiteY1035" fmla="*/ 25215 h 51323"/>
                <a:gd name="connsiteX1036" fmla="*/ 44058 w 51323"/>
                <a:gd name="connsiteY1036" fmla="*/ 25507 h 51323"/>
                <a:gd name="connsiteX1037" fmla="*/ 44642 w 51323"/>
                <a:gd name="connsiteY1037" fmla="*/ 26091 h 51323"/>
                <a:gd name="connsiteX1038" fmla="*/ 44642 w 51323"/>
                <a:gd name="connsiteY1038" fmla="*/ 27311 h 51323"/>
                <a:gd name="connsiteX1039" fmla="*/ 44642 w 51323"/>
                <a:gd name="connsiteY1039" fmla="*/ 27877 h 51323"/>
                <a:gd name="connsiteX1040" fmla="*/ 44109 w 51323"/>
                <a:gd name="connsiteY1040" fmla="*/ 28376 h 51323"/>
                <a:gd name="connsiteX1041" fmla="*/ 44109 w 51323"/>
                <a:gd name="connsiteY1041" fmla="*/ 28719 h 51323"/>
                <a:gd name="connsiteX1042" fmla="*/ 43457 w 51323"/>
                <a:gd name="connsiteY1042" fmla="*/ 29114 h 51323"/>
                <a:gd name="connsiteX1043" fmla="*/ 42684 w 51323"/>
                <a:gd name="connsiteY1043" fmla="*/ 29767 h 51323"/>
                <a:gd name="connsiteX1044" fmla="*/ 42357 w 51323"/>
                <a:gd name="connsiteY1044" fmla="*/ 29990 h 51323"/>
                <a:gd name="connsiteX1045" fmla="*/ 41791 w 51323"/>
                <a:gd name="connsiteY1045" fmla="*/ 30248 h 51323"/>
                <a:gd name="connsiteX1046" fmla="*/ 41172 w 51323"/>
                <a:gd name="connsiteY1046" fmla="*/ 30626 h 51323"/>
                <a:gd name="connsiteX1047" fmla="*/ 40897 w 51323"/>
                <a:gd name="connsiteY1047" fmla="*/ 29629 h 51323"/>
                <a:gd name="connsiteX1048" fmla="*/ 39850 w 51323"/>
                <a:gd name="connsiteY1048" fmla="*/ 27706 h 51323"/>
                <a:gd name="connsiteX1049" fmla="*/ 39283 w 51323"/>
                <a:gd name="connsiteY1049" fmla="*/ 26606 h 51323"/>
                <a:gd name="connsiteX1050" fmla="*/ 38338 w 51323"/>
                <a:gd name="connsiteY1050" fmla="*/ 24751 h 51323"/>
                <a:gd name="connsiteX1051" fmla="*/ 38201 w 51323"/>
                <a:gd name="connsiteY1051" fmla="*/ 25438 h 51323"/>
                <a:gd name="connsiteX1052" fmla="*/ 37548 w 51323"/>
                <a:gd name="connsiteY1052" fmla="*/ 24717 h 51323"/>
                <a:gd name="connsiteX1053" fmla="*/ 38682 w 51323"/>
                <a:gd name="connsiteY1053" fmla="*/ 26692 h 51323"/>
                <a:gd name="connsiteX1054" fmla="*/ 38682 w 51323"/>
                <a:gd name="connsiteY1054" fmla="*/ 26692 h 51323"/>
                <a:gd name="connsiteX1055" fmla="*/ 38819 w 51323"/>
                <a:gd name="connsiteY1055" fmla="*/ 26830 h 51323"/>
                <a:gd name="connsiteX1056" fmla="*/ 38699 w 51323"/>
                <a:gd name="connsiteY1056" fmla="*/ 26830 h 51323"/>
                <a:gd name="connsiteX1057" fmla="*/ 39317 w 51323"/>
                <a:gd name="connsiteY1057" fmla="*/ 27826 h 51323"/>
                <a:gd name="connsiteX1058" fmla="*/ 39317 w 51323"/>
                <a:gd name="connsiteY1058" fmla="*/ 28376 h 51323"/>
                <a:gd name="connsiteX1059" fmla="*/ 39712 w 51323"/>
                <a:gd name="connsiteY1059" fmla="*/ 28891 h 51323"/>
                <a:gd name="connsiteX1060" fmla="*/ 40021 w 51323"/>
                <a:gd name="connsiteY1060" fmla="*/ 29715 h 51323"/>
                <a:gd name="connsiteX1061" fmla="*/ 40021 w 51323"/>
                <a:gd name="connsiteY1061" fmla="*/ 29801 h 51323"/>
                <a:gd name="connsiteX1062" fmla="*/ 40193 w 51323"/>
                <a:gd name="connsiteY1062" fmla="*/ 29939 h 51323"/>
                <a:gd name="connsiteX1063" fmla="*/ 40932 w 51323"/>
                <a:gd name="connsiteY1063" fmla="*/ 30626 h 51323"/>
                <a:gd name="connsiteX1064" fmla="*/ 41035 w 51323"/>
                <a:gd name="connsiteY1064" fmla="*/ 30746 h 51323"/>
                <a:gd name="connsiteX1065" fmla="*/ 40794 w 51323"/>
                <a:gd name="connsiteY1065" fmla="*/ 31038 h 51323"/>
                <a:gd name="connsiteX1066" fmla="*/ 41327 w 51323"/>
                <a:gd name="connsiteY1066" fmla="*/ 31450 h 51323"/>
                <a:gd name="connsiteX1067" fmla="*/ 42770 w 51323"/>
                <a:gd name="connsiteY1067" fmla="*/ 30901 h 51323"/>
                <a:gd name="connsiteX1068" fmla="*/ 42993 w 51323"/>
                <a:gd name="connsiteY1068" fmla="*/ 30660 h 51323"/>
                <a:gd name="connsiteX1069" fmla="*/ 42993 w 51323"/>
                <a:gd name="connsiteY1069" fmla="*/ 31210 h 51323"/>
                <a:gd name="connsiteX1070" fmla="*/ 42993 w 51323"/>
                <a:gd name="connsiteY1070" fmla="*/ 31210 h 51323"/>
                <a:gd name="connsiteX1071" fmla="*/ 38922 w 51323"/>
                <a:gd name="connsiteY1071" fmla="*/ 37033 h 51323"/>
                <a:gd name="connsiteX1072" fmla="*/ 38802 w 51323"/>
                <a:gd name="connsiteY1072" fmla="*/ 37307 h 51323"/>
                <a:gd name="connsiteX1073" fmla="*/ 38802 w 51323"/>
                <a:gd name="connsiteY1073" fmla="*/ 38012 h 51323"/>
                <a:gd name="connsiteX1074" fmla="*/ 38355 w 51323"/>
                <a:gd name="connsiteY1074" fmla="*/ 39248 h 51323"/>
                <a:gd name="connsiteX1075" fmla="*/ 38355 w 51323"/>
                <a:gd name="connsiteY1075" fmla="*/ 39351 h 51323"/>
                <a:gd name="connsiteX1076" fmla="*/ 37119 w 51323"/>
                <a:gd name="connsiteY1076" fmla="*/ 40193 h 51323"/>
                <a:gd name="connsiteX1077" fmla="*/ 37119 w 51323"/>
                <a:gd name="connsiteY1077" fmla="*/ 40193 h 51323"/>
                <a:gd name="connsiteX1078" fmla="*/ 36311 w 51323"/>
                <a:gd name="connsiteY1078" fmla="*/ 40691 h 51323"/>
                <a:gd name="connsiteX1079" fmla="*/ 36311 w 51323"/>
                <a:gd name="connsiteY1079" fmla="*/ 40880 h 51323"/>
                <a:gd name="connsiteX1080" fmla="*/ 36311 w 51323"/>
                <a:gd name="connsiteY1080" fmla="*/ 41035 h 51323"/>
                <a:gd name="connsiteX1081" fmla="*/ 36311 w 51323"/>
                <a:gd name="connsiteY1081" fmla="*/ 41395 h 51323"/>
                <a:gd name="connsiteX1082" fmla="*/ 36311 w 51323"/>
                <a:gd name="connsiteY1082" fmla="*/ 41292 h 51323"/>
                <a:gd name="connsiteX1083" fmla="*/ 36311 w 51323"/>
                <a:gd name="connsiteY1083" fmla="*/ 41292 h 51323"/>
                <a:gd name="connsiteX1084" fmla="*/ 36311 w 51323"/>
                <a:gd name="connsiteY1084" fmla="*/ 41292 h 51323"/>
                <a:gd name="connsiteX1085" fmla="*/ 36054 w 51323"/>
                <a:gd name="connsiteY1085" fmla="*/ 41705 h 51323"/>
                <a:gd name="connsiteX1086" fmla="*/ 36054 w 51323"/>
                <a:gd name="connsiteY1086" fmla="*/ 41705 h 51323"/>
                <a:gd name="connsiteX1087" fmla="*/ 35006 w 51323"/>
                <a:gd name="connsiteY1087" fmla="*/ 42392 h 51323"/>
                <a:gd name="connsiteX1088" fmla="*/ 35126 w 51323"/>
                <a:gd name="connsiteY1088" fmla="*/ 42392 h 51323"/>
                <a:gd name="connsiteX1089" fmla="*/ 34954 w 51323"/>
                <a:gd name="connsiteY1089" fmla="*/ 42598 h 51323"/>
                <a:gd name="connsiteX1090" fmla="*/ 34954 w 51323"/>
                <a:gd name="connsiteY1090" fmla="*/ 42598 h 51323"/>
                <a:gd name="connsiteX1091" fmla="*/ 32051 w 51323"/>
                <a:gd name="connsiteY1091" fmla="*/ 44315 h 51323"/>
                <a:gd name="connsiteX1092" fmla="*/ 30660 w 51323"/>
                <a:gd name="connsiteY1092" fmla="*/ 44418 h 51323"/>
                <a:gd name="connsiteX1093" fmla="*/ 30660 w 51323"/>
                <a:gd name="connsiteY1093" fmla="*/ 44418 h 51323"/>
                <a:gd name="connsiteX1094" fmla="*/ 30660 w 51323"/>
                <a:gd name="connsiteY1094" fmla="*/ 44418 h 51323"/>
                <a:gd name="connsiteX1095" fmla="*/ 30660 w 51323"/>
                <a:gd name="connsiteY1095" fmla="*/ 44092 h 51323"/>
                <a:gd name="connsiteX1096" fmla="*/ 30660 w 51323"/>
                <a:gd name="connsiteY1096" fmla="*/ 43199 h 51323"/>
                <a:gd name="connsiteX1097" fmla="*/ 29836 w 51323"/>
                <a:gd name="connsiteY1097" fmla="*/ 40296 h 51323"/>
                <a:gd name="connsiteX1098" fmla="*/ 30591 w 51323"/>
                <a:gd name="connsiteY1098" fmla="*/ 38046 h 51323"/>
                <a:gd name="connsiteX1099" fmla="*/ 30471 w 51323"/>
                <a:gd name="connsiteY1099" fmla="*/ 37204 h 51323"/>
                <a:gd name="connsiteX1100" fmla="*/ 30574 w 51323"/>
                <a:gd name="connsiteY1100" fmla="*/ 37204 h 51323"/>
                <a:gd name="connsiteX1101" fmla="*/ 30454 w 51323"/>
                <a:gd name="connsiteY1101" fmla="*/ 37050 h 51323"/>
                <a:gd name="connsiteX1102" fmla="*/ 29423 w 51323"/>
                <a:gd name="connsiteY1102" fmla="*/ 35607 h 51323"/>
                <a:gd name="connsiteX1103" fmla="*/ 29630 w 51323"/>
                <a:gd name="connsiteY1103" fmla="*/ 35298 h 51323"/>
                <a:gd name="connsiteX1104" fmla="*/ 29819 w 51323"/>
                <a:gd name="connsiteY1104" fmla="*/ 35298 h 51323"/>
                <a:gd name="connsiteX1105" fmla="*/ 29647 w 51323"/>
                <a:gd name="connsiteY1105" fmla="*/ 35177 h 51323"/>
                <a:gd name="connsiteX1106" fmla="*/ 29647 w 51323"/>
                <a:gd name="connsiteY1106" fmla="*/ 35040 h 51323"/>
                <a:gd name="connsiteX1107" fmla="*/ 29836 w 51323"/>
                <a:gd name="connsiteY1107" fmla="*/ 34095 h 51323"/>
                <a:gd name="connsiteX1108" fmla="*/ 29612 w 51323"/>
                <a:gd name="connsiteY1108" fmla="*/ 33906 h 51323"/>
                <a:gd name="connsiteX1109" fmla="*/ 29423 w 51323"/>
                <a:gd name="connsiteY1109" fmla="*/ 33906 h 51323"/>
                <a:gd name="connsiteX1110" fmla="*/ 28496 w 51323"/>
                <a:gd name="connsiteY1110" fmla="*/ 34044 h 51323"/>
                <a:gd name="connsiteX1111" fmla="*/ 25937 w 51323"/>
                <a:gd name="connsiteY1111" fmla="*/ 33821 h 51323"/>
                <a:gd name="connsiteX1112" fmla="*/ 22501 w 51323"/>
                <a:gd name="connsiteY1112" fmla="*/ 32687 h 51323"/>
                <a:gd name="connsiteX1113" fmla="*/ 22226 w 51323"/>
                <a:gd name="connsiteY1113" fmla="*/ 32361 h 51323"/>
                <a:gd name="connsiteX1114" fmla="*/ 22226 w 51323"/>
                <a:gd name="connsiteY1114" fmla="*/ 32137 h 51323"/>
                <a:gd name="connsiteX1115" fmla="*/ 21986 w 51323"/>
                <a:gd name="connsiteY1115" fmla="*/ 31828 h 51323"/>
                <a:gd name="connsiteX1116" fmla="*/ 21591 w 51323"/>
                <a:gd name="connsiteY1116" fmla="*/ 31536 h 51323"/>
                <a:gd name="connsiteX1117" fmla="*/ 21436 w 51323"/>
                <a:gd name="connsiteY1117" fmla="*/ 31450 h 51323"/>
                <a:gd name="connsiteX1118" fmla="*/ 21436 w 51323"/>
                <a:gd name="connsiteY1118" fmla="*/ 31450 h 51323"/>
                <a:gd name="connsiteX1119" fmla="*/ 21436 w 51323"/>
                <a:gd name="connsiteY1119" fmla="*/ 31450 h 51323"/>
                <a:gd name="connsiteX1120" fmla="*/ 21436 w 51323"/>
                <a:gd name="connsiteY1120" fmla="*/ 31347 h 51323"/>
                <a:gd name="connsiteX1121" fmla="*/ 21642 w 51323"/>
                <a:gd name="connsiteY1121" fmla="*/ 31347 h 51323"/>
                <a:gd name="connsiteX1122" fmla="*/ 21247 w 51323"/>
                <a:gd name="connsiteY1122" fmla="*/ 31158 h 51323"/>
                <a:gd name="connsiteX1123" fmla="*/ 21041 w 51323"/>
                <a:gd name="connsiteY1123" fmla="*/ 30986 h 51323"/>
                <a:gd name="connsiteX1124" fmla="*/ 21213 w 51323"/>
                <a:gd name="connsiteY1124" fmla="*/ 30986 h 51323"/>
                <a:gd name="connsiteX1125" fmla="*/ 21024 w 51323"/>
                <a:gd name="connsiteY1125" fmla="*/ 30986 h 51323"/>
                <a:gd name="connsiteX1126" fmla="*/ 21024 w 51323"/>
                <a:gd name="connsiteY1126" fmla="*/ 30780 h 51323"/>
                <a:gd name="connsiteX1127" fmla="*/ 21299 w 51323"/>
                <a:gd name="connsiteY1127" fmla="*/ 30780 h 51323"/>
                <a:gd name="connsiteX1128" fmla="*/ 21144 w 51323"/>
                <a:gd name="connsiteY1128" fmla="*/ 30626 h 51323"/>
                <a:gd name="connsiteX1129" fmla="*/ 21144 w 51323"/>
                <a:gd name="connsiteY1129" fmla="*/ 30626 h 51323"/>
                <a:gd name="connsiteX1130" fmla="*/ 20921 w 51323"/>
                <a:gd name="connsiteY1130" fmla="*/ 30299 h 51323"/>
                <a:gd name="connsiteX1131" fmla="*/ 21333 w 51323"/>
                <a:gd name="connsiteY1131" fmla="*/ 28582 h 51323"/>
                <a:gd name="connsiteX1132" fmla="*/ 21436 w 51323"/>
                <a:gd name="connsiteY1132" fmla="*/ 28358 h 51323"/>
                <a:gd name="connsiteX1133" fmla="*/ 21247 w 51323"/>
                <a:gd name="connsiteY1133" fmla="*/ 28135 h 51323"/>
                <a:gd name="connsiteX1134" fmla="*/ 21247 w 51323"/>
                <a:gd name="connsiteY1134" fmla="*/ 28221 h 51323"/>
                <a:gd name="connsiteX1135" fmla="*/ 21591 w 51323"/>
                <a:gd name="connsiteY1135" fmla="*/ 27465 h 51323"/>
                <a:gd name="connsiteX1136" fmla="*/ 23927 w 51323"/>
                <a:gd name="connsiteY1136" fmla="*/ 25043 h 51323"/>
                <a:gd name="connsiteX1137" fmla="*/ 23927 w 51323"/>
                <a:gd name="connsiteY1137" fmla="*/ 24562 h 51323"/>
                <a:gd name="connsiteX1138" fmla="*/ 24133 w 51323"/>
                <a:gd name="connsiteY1138" fmla="*/ 24081 h 51323"/>
                <a:gd name="connsiteX1139" fmla="*/ 25473 w 51323"/>
                <a:gd name="connsiteY1139" fmla="*/ 22896 h 51323"/>
                <a:gd name="connsiteX1140" fmla="*/ 26194 w 51323"/>
                <a:gd name="connsiteY1140" fmla="*/ 23102 h 51323"/>
                <a:gd name="connsiteX1141" fmla="*/ 27586 w 51323"/>
                <a:gd name="connsiteY1141" fmla="*/ 22725 h 51323"/>
                <a:gd name="connsiteX1142" fmla="*/ 29063 w 51323"/>
                <a:gd name="connsiteY1142" fmla="*/ 22587 h 51323"/>
                <a:gd name="connsiteX1143" fmla="*/ 29372 w 51323"/>
                <a:gd name="connsiteY1143" fmla="*/ 22587 h 51323"/>
                <a:gd name="connsiteX1144" fmla="*/ 30162 w 51323"/>
                <a:gd name="connsiteY1144" fmla="*/ 22587 h 51323"/>
                <a:gd name="connsiteX1145" fmla="*/ 30385 w 51323"/>
                <a:gd name="connsiteY1145" fmla="*/ 22776 h 51323"/>
                <a:gd name="connsiteX1146" fmla="*/ 30385 w 51323"/>
                <a:gd name="connsiteY1146" fmla="*/ 23017 h 51323"/>
                <a:gd name="connsiteX1147" fmla="*/ 30385 w 51323"/>
                <a:gd name="connsiteY1147" fmla="*/ 23910 h 51323"/>
                <a:gd name="connsiteX1148" fmla="*/ 30506 w 51323"/>
                <a:gd name="connsiteY1148" fmla="*/ 23910 h 51323"/>
                <a:gd name="connsiteX1149" fmla="*/ 30506 w 51323"/>
                <a:gd name="connsiteY1149" fmla="*/ 23910 h 51323"/>
                <a:gd name="connsiteX1150" fmla="*/ 31622 w 51323"/>
                <a:gd name="connsiteY1150" fmla="*/ 24236 h 51323"/>
                <a:gd name="connsiteX1151" fmla="*/ 34473 w 51323"/>
                <a:gd name="connsiteY1151" fmla="*/ 24236 h 51323"/>
                <a:gd name="connsiteX1152" fmla="*/ 36191 w 51323"/>
                <a:gd name="connsiteY1152" fmla="*/ 24700 h 51323"/>
                <a:gd name="connsiteX1153" fmla="*/ 37084 w 51323"/>
                <a:gd name="connsiteY1153" fmla="*/ 24494 h 51323"/>
                <a:gd name="connsiteX1154" fmla="*/ 37187 w 51323"/>
                <a:gd name="connsiteY1154" fmla="*/ 24494 h 51323"/>
                <a:gd name="connsiteX1155" fmla="*/ 37187 w 51323"/>
                <a:gd name="connsiteY1155" fmla="*/ 24494 h 51323"/>
                <a:gd name="connsiteX1156" fmla="*/ 37462 w 51323"/>
                <a:gd name="connsiteY1156" fmla="*/ 24494 h 51323"/>
                <a:gd name="connsiteX1157" fmla="*/ 37565 w 51323"/>
                <a:gd name="connsiteY1157" fmla="*/ 24665 h 51323"/>
                <a:gd name="connsiteX1158" fmla="*/ 37565 w 51323"/>
                <a:gd name="connsiteY1158" fmla="*/ 24494 h 51323"/>
                <a:gd name="connsiteX1159" fmla="*/ 38407 w 51323"/>
                <a:gd name="connsiteY1159" fmla="*/ 22381 h 51323"/>
                <a:gd name="connsiteX1160" fmla="*/ 37840 w 51323"/>
                <a:gd name="connsiteY1160" fmla="*/ 22656 h 51323"/>
                <a:gd name="connsiteX1161" fmla="*/ 36775 w 51323"/>
                <a:gd name="connsiteY1161" fmla="*/ 22656 h 51323"/>
                <a:gd name="connsiteX1162" fmla="*/ 36277 w 51323"/>
                <a:gd name="connsiteY1162" fmla="*/ 22536 h 51323"/>
                <a:gd name="connsiteX1163" fmla="*/ 36140 w 51323"/>
                <a:gd name="connsiteY1163" fmla="*/ 22536 h 51323"/>
                <a:gd name="connsiteX1164" fmla="*/ 35933 w 51323"/>
                <a:gd name="connsiteY1164" fmla="*/ 22536 h 51323"/>
                <a:gd name="connsiteX1165" fmla="*/ 35727 w 51323"/>
                <a:gd name="connsiteY1165" fmla="*/ 22536 h 51323"/>
                <a:gd name="connsiteX1166" fmla="*/ 35951 w 51323"/>
                <a:gd name="connsiteY1166" fmla="*/ 22398 h 51323"/>
                <a:gd name="connsiteX1167" fmla="*/ 35762 w 51323"/>
                <a:gd name="connsiteY1167" fmla="*/ 22398 h 51323"/>
                <a:gd name="connsiteX1168" fmla="*/ 35401 w 51323"/>
                <a:gd name="connsiteY1168" fmla="*/ 22020 h 51323"/>
                <a:gd name="connsiteX1169" fmla="*/ 35401 w 51323"/>
                <a:gd name="connsiteY1169" fmla="*/ 21831 h 51323"/>
                <a:gd name="connsiteX1170" fmla="*/ 35573 w 51323"/>
                <a:gd name="connsiteY1170" fmla="*/ 21831 h 51323"/>
                <a:gd name="connsiteX1171" fmla="*/ 35573 w 51323"/>
                <a:gd name="connsiteY1171" fmla="*/ 21831 h 51323"/>
                <a:gd name="connsiteX1172" fmla="*/ 35676 w 51323"/>
                <a:gd name="connsiteY1172" fmla="*/ 21694 h 51323"/>
                <a:gd name="connsiteX1173" fmla="*/ 35676 w 51323"/>
                <a:gd name="connsiteY1173" fmla="*/ 21488 h 51323"/>
                <a:gd name="connsiteX1174" fmla="*/ 35779 w 51323"/>
                <a:gd name="connsiteY1174" fmla="*/ 21179 h 51323"/>
                <a:gd name="connsiteX1175" fmla="*/ 36225 w 51323"/>
                <a:gd name="connsiteY1175" fmla="*/ 21179 h 51323"/>
                <a:gd name="connsiteX1176" fmla="*/ 36397 w 51323"/>
                <a:gd name="connsiteY1176" fmla="*/ 20990 h 51323"/>
                <a:gd name="connsiteX1177" fmla="*/ 36827 w 51323"/>
                <a:gd name="connsiteY1177" fmla="*/ 20784 h 51323"/>
                <a:gd name="connsiteX1178" fmla="*/ 37788 w 51323"/>
                <a:gd name="connsiteY1178" fmla="*/ 20371 h 51323"/>
                <a:gd name="connsiteX1179" fmla="*/ 38063 w 51323"/>
                <a:gd name="connsiteY1179" fmla="*/ 20371 h 51323"/>
                <a:gd name="connsiteX1180" fmla="*/ 38287 w 51323"/>
                <a:gd name="connsiteY1180" fmla="*/ 20526 h 51323"/>
                <a:gd name="connsiteX1181" fmla="*/ 37857 w 51323"/>
                <a:gd name="connsiteY1181" fmla="*/ 19049 h 51323"/>
                <a:gd name="connsiteX1182" fmla="*/ 37857 w 51323"/>
                <a:gd name="connsiteY1182" fmla="*/ 18911 h 51323"/>
                <a:gd name="connsiteX1183" fmla="*/ 37977 w 51323"/>
                <a:gd name="connsiteY1183" fmla="*/ 18791 h 51323"/>
                <a:gd name="connsiteX1184" fmla="*/ 37977 w 51323"/>
                <a:gd name="connsiteY1184" fmla="*/ 18551 h 51323"/>
                <a:gd name="connsiteX1185" fmla="*/ 37857 w 51323"/>
                <a:gd name="connsiteY1185" fmla="*/ 18448 h 51323"/>
                <a:gd name="connsiteX1186" fmla="*/ 38029 w 51323"/>
                <a:gd name="connsiteY1186" fmla="*/ 18448 h 51323"/>
                <a:gd name="connsiteX1187" fmla="*/ 38132 w 51323"/>
                <a:gd name="connsiteY1187" fmla="*/ 18224 h 51323"/>
                <a:gd name="connsiteX1188" fmla="*/ 37548 w 51323"/>
                <a:gd name="connsiteY1188" fmla="*/ 18499 h 51323"/>
                <a:gd name="connsiteX1189" fmla="*/ 37359 w 51323"/>
                <a:gd name="connsiteY1189" fmla="*/ 18499 h 51323"/>
                <a:gd name="connsiteX1190" fmla="*/ 37204 w 51323"/>
                <a:gd name="connsiteY1190" fmla="*/ 18499 h 51323"/>
                <a:gd name="connsiteX1191" fmla="*/ 37204 w 51323"/>
                <a:gd name="connsiteY1191" fmla="*/ 18705 h 51323"/>
                <a:gd name="connsiteX1192" fmla="*/ 37204 w 51323"/>
                <a:gd name="connsiteY1192" fmla="*/ 18568 h 51323"/>
                <a:gd name="connsiteX1193" fmla="*/ 36878 w 51323"/>
                <a:gd name="connsiteY1193" fmla="*/ 18791 h 51323"/>
                <a:gd name="connsiteX1194" fmla="*/ 37136 w 51323"/>
                <a:gd name="connsiteY1194" fmla="*/ 18946 h 51323"/>
                <a:gd name="connsiteX1195" fmla="*/ 37136 w 51323"/>
                <a:gd name="connsiteY1195" fmla="*/ 18946 h 51323"/>
                <a:gd name="connsiteX1196" fmla="*/ 37325 w 51323"/>
                <a:gd name="connsiteY1196" fmla="*/ 19049 h 51323"/>
                <a:gd name="connsiteX1197" fmla="*/ 37084 w 51323"/>
                <a:gd name="connsiteY1197" fmla="*/ 18705 h 51323"/>
                <a:gd name="connsiteX1198" fmla="*/ 37393 w 51323"/>
                <a:gd name="connsiteY1198" fmla="*/ 19014 h 51323"/>
                <a:gd name="connsiteX1199" fmla="*/ 37514 w 51323"/>
                <a:gd name="connsiteY1199" fmla="*/ 19014 h 51323"/>
                <a:gd name="connsiteX1200" fmla="*/ 37685 w 51323"/>
                <a:gd name="connsiteY1200" fmla="*/ 18929 h 51323"/>
                <a:gd name="connsiteX1201" fmla="*/ 37462 w 51323"/>
                <a:gd name="connsiteY1201" fmla="*/ 19100 h 51323"/>
                <a:gd name="connsiteX1202" fmla="*/ 36912 w 51323"/>
                <a:gd name="connsiteY1202" fmla="*/ 19100 h 51323"/>
                <a:gd name="connsiteX1203" fmla="*/ 36758 w 51323"/>
                <a:gd name="connsiteY1203" fmla="*/ 18860 h 51323"/>
                <a:gd name="connsiteX1204" fmla="*/ 36500 w 51323"/>
                <a:gd name="connsiteY1204" fmla="*/ 18740 h 51323"/>
                <a:gd name="connsiteX1205" fmla="*/ 36380 w 51323"/>
                <a:gd name="connsiteY1205" fmla="*/ 18619 h 51323"/>
                <a:gd name="connsiteX1206" fmla="*/ 36157 w 51323"/>
                <a:gd name="connsiteY1206" fmla="*/ 18619 h 51323"/>
                <a:gd name="connsiteX1207" fmla="*/ 36449 w 51323"/>
                <a:gd name="connsiteY1207" fmla="*/ 18619 h 51323"/>
                <a:gd name="connsiteX1208" fmla="*/ 36260 w 51323"/>
                <a:gd name="connsiteY1208" fmla="*/ 18619 h 51323"/>
                <a:gd name="connsiteX1209" fmla="*/ 36088 w 51323"/>
                <a:gd name="connsiteY1209" fmla="*/ 18740 h 51323"/>
                <a:gd name="connsiteX1210" fmla="*/ 35916 w 51323"/>
                <a:gd name="connsiteY1210" fmla="*/ 18946 h 51323"/>
                <a:gd name="connsiteX1211" fmla="*/ 35796 w 51323"/>
                <a:gd name="connsiteY1211" fmla="*/ 19083 h 51323"/>
                <a:gd name="connsiteX1212" fmla="*/ 35607 w 51323"/>
                <a:gd name="connsiteY1212" fmla="*/ 19598 h 51323"/>
                <a:gd name="connsiteX1213" fmla="*/ 35607 w 51323"/>
                <a:gd name="connsiteY1213" fmla="*/ 19993 h 51323"/>
                <a:gd name="connsiteX1214" fmla="*/ 35470 w 51323"/>
                <a:gd name="connsiteY1214" fmla="*/ 20251 h 51323"/>
                <a:gd name="connsiteX1215" fmla="*/ 35607 w 51323"/>
                <a:gd name="connsiteY1215" fmla="*/ 20698 h 51323"/>
                <a:gd name="connsiteX1216" fmla="*/ 35899 w 51323"/>
                <a:gd name="connsiteY1216" fmla="*/ 20990 h 51323"/>
                <a:gd name="connsiteX1217" fmla="*/ 35212 w 51323"/>
                <a:gd name="connsiteY1217" fmla="*/ 21333 h 51323"/>
                <a:gd name="connsiteX1218" fmla="*/ 35315 w 51323"/>
                <a:gd name="connsiteY1218" fmla="*/ 21144 h 51323"/>
                <a:gd name="connsiteX1219" fmla="*/ 34731 w 51323"/>
                <a:gd name="connsiteY1219" fmla="*/ 21144 h 51323"/>
                <a:gd name="connsiteX1220" fmla="*/ 34491 w 51323"/>
                <a:gd name="connsiteY1220" fmla="*/ 21230 h 51323"/>
                <a:gd name="connsiteX1221" fmla="*/ 34611 w 51323"/>
                <a:gd name="connsiteY1221" fmla="*/ 21385 h 51323"/>
                <a:gd name="connsiteX1222" fmla="*/ 34439 w 51323"/>
                <a:gd name="connsiteY1222" fmla="*/ 21385 h 51323"/>
                <a:gd name="connsiteX1223" fmla="*/ 34439 w 51323"/>
                <a:gd name="connsiteY1223" fmla="*/ 21471 h 51323"/>
                <a:gd name="connsiteX1224" fmla="*/ 34439 w 51323"/>
                <a:gd name="connsiteY1224" fmla="*/ 21471 h 51323"/>
                <a:gd name="connsiteX1225" fmla="*/ 34164 w 51323"/>
                <a:gd name="connsiteY1225" fmla="*/ 21282 h 51323"/>
                <a:gd name="connsiteX1226" fmla="*/ 34164 w 51323"/>
                <a:gd name="connsiteY1226" fmla="*/ 21522 h 51323"/>
                <a:gd name="connsiteX1227" fmla="*/ 34164 w 51323"/>
                <a:gd name="connsiteY1227" fmla="*/ 21728 h 51323"/>
                <a:gd name="connsiteX1228" fmla="*/ 34164 w 51323"/>
                <a:gd name="connsiteY1228" fmla="*/ 21728 h 51323"/>
                <a:gd name="connsiteX1229" fmla="*/ 34164 w 51323"/>
                <a:gd name="connsiteY1229" fmla="*/ 21831 h 51323"/>
                <a:gd name="connsiteX1230" fmla="*/ 34662 w 51323"/>
                <a:gd name="connsiteY1230" fmla="*/ 22295 h 51323"/>
                <a:gd name="connsiteX1231" fmla="*/ 34336 w 51323"/>
                <a:gd name="connsiteY1231" fmla="*/ 22295 h 51323"/>
                <a:gd name="connsiteX1232" fmla="*/ 34456 w 51323"/>
                <a:gd name="connsiteY1232" fmla="*/ 22467 h 51323"/>
                <a:gd name="connsiteX1233" fmla="*/ 34456 w 51323"/>
                <a:gd name="connsiteY1233" fmla="*/ 22467 h 51323"/>
                <a:gd name="connsiteX1234" fmla="*/ 34456 w 51323"/>
                <a:gd name="connsiteY1234" fmla="*/ 22776 h 51323"/>
                <a:gd name="connsiteX1235" fmla="*/ 34250 w 51323"/>
                <a:gd name="connsiteY1235" fmla="*/ 22776 h 51323"/>
                <a:gd name="connsiteX1236" fmla="*/ 34078 w 51323"/>
                <a:gd name="connsiteY1236" fmla="*/ 22518 h 51323"/>
                <a:gd name="connsiteX1237" fmla="*/ 34078 w 51323"/>
                <a:gd name="connsiteY1237" fmla="*/ 22656 h 51323"/>
                <a:gd name="connsiteX1238" fmla="*/ 33975 w 51323"/>
                <a:gd name="connsiteY1238" fmla="*/ 22398 h 51323"/>
                <a:gd name="connsiteX1239" fmla="*/ 33855 w 51323"/>
                <a:gd name="connsiteY1239" fmla="*/ 22089 h 51323"/>
                <a:gd name="connsiteX1240" fmla="*/ 34353 w 51323"/>
                <a:gd name="connsiteY1240" fmla="*/ 22089 h 51323"/>
                <a:gd name="connsiteX1241" fmla="*/ 33958 w 51323"/>
                <a:gd name="connsiteY1241" fmla="*/ 22089 h 51323"/>
                <a:gd name="connsiteX1242" fmla="*/ 33786 w 51323"/>
                <a:gd name="connsiteY1242" fmla="*/ 22089 h 51323"/>
                <a:gd name="connsiteX1243" fmla="*/ 33065 w 51323"/>
                <a:gd name="connsiteY1243" fmla="*/ 21316 h 51323"/>
                <a:gd name="connsiteX1244" fmla="*/ 33065 w 51323"/>
                <a:gd name="connsiteY1244" fmla="*/ 20732 h 51323"/>
                <a:gd name="connsiteX1245" fmla="*/ 32584 w 51323"/>
                <a:gd name="connsiteY1245" fmla="*/ 20320 h 51323"/>
                <a:gd name="connsiteX1246" fmla="*/ 32275 w 51323"/>
                <a:gd name="connsiteY1246" fmla="*/ 20320 h 51323"/>
                <a:gd name="connsiteX1247" fmla="*/ 32395 w 51323"/>
                <a:gd name="connsiteY1247" fmla="*/ 20320 h 51323"/>
                <a:gd name="connsiteX1248" fmla="*/ 31931 w 51323"/>
                <a:gd name="connsiteY1248" fmla="*/ 20131 h 51323"/>
                <a:gd name="connsiteX1249" fmla="*/ 31742 w 51323"/>
                <a:gd name="connsiteY1249" fmla="*/ 19856 h 51323"/>
                <a:gd name="connsiteX1250" fmla="*/ 31175 w 51323"/>
                <a:gd name="connsiteY1250" fmla="*/ 19633 h 51323"/>
                <a:gd name="connsiteX1251" fmla="*/ 31175 w 51323"/>
                <a:gd name="connsiteY1251" fmla="*/ 19306 h 51323"/>
                <a:gd name="connsiteX1252" fmla="*/ 30746 w 51323"/>
                <a:gd name="connsiteY1252" fmla="*/ 19427 h 51323"/>
                <a:gd name="connsiteX1253" fmla="*/ 31656 w 51323"/>
                <a:gd name="connsiteY1253" fmla="*/ 20681 h 51323"/>
                <a:gd name="connsiteX1254" fmla="*/ 31983 w 51323"/>
                <a:gd name="connsiteY1254" fmla="*/ 20887 h 51323"/>
                <a:gd name="connsiteX1255" fmla="*/ 32807 w 51323"/>
                <a:gd name="connsiteY1255" fmla="*/ 21539 h 51323"/>
                <a:gd name="connsiteX1256" fmla="*/ 32532 w 51323"/>
                <a:gd name="connsiteY1256" fmla="*/ 21333 h 51323"/>
                <a:gd name="connsiteX1257" fmla="*/ 32309 w 51323"/>
                <a:gd name="connsiteY1257" fmla="*/ 21625 h 51323"/>
                <a:gd name="connsiteX1258" fmla="*/ 32309 w 51323"/>
                <a:gd name="connsiteY1258" fmla="*/ 22141 h 51323"/>
                <a:gd name="connsiteX1259" fmla="*/ 32086 w 51323"/>
                <a:gd name="connsiteY1259" fmla="*/ 22141 h 51323"/>
                <a:gd name="connsiteX1260" fmla="*/ 31794 w 51323"/>
                <a:gd name="connsiteY1260" fmla="*/ 21402 h 51323"/>
                <a:gd name="connsiteX1261" fmla="*/ 31656 w 51323"/>
                <a:gd name="connsiteY1261" fmla="*/ 21230 h 51323"/>
                <a:gd name="connsiteX1262" fmla="*/ 31330 w 51323"/>
                <a:gd name="connsiteY1262" fmla="*/ 21024 h 51323"/>
                <a:gd name="connsiteX1263" fmla="*/ 29080 w 51323"/>
                <a:gd name="connsiteY1263" fmla="*/ 20217 h 51323"/>
                <a:gd name="connsiteX1264" fmla="*/ 28633 w 51323"/>
                <a:gd name="connsiteY1264" fmla="*/ 20114 h 51323"/>
                <a:gd name="connsiteX1265" fmla="*/ 27448 w 51323"/>
                <a:gd name="connsiteY1265" fmla="*/ 21093 h 51323"/>
                <a:gd name="connsiteX1266" fmla="*/ 27448 w 51323"/>
                <a:gd name="connsiteY1266" fmla="*/ 21213 h 51323"/>
                <a:gd name="connsiteX1267" fmla="*/ 27191 w 51323"/>
                <a:gd name="connsiteY1267" fmla="*/ 22003 h 51323"/>
                <a:gd name="connsiteX1268" fmla="*/ 26847 w 51323"/>
                <a:gd name="connsiteY1268" fmla="*/ 22398 h 51323"/>
                <a:gd name="connsiteX1269" fmla="*/ 25421 w 51323"/>
                <a:gd name="connsiteY1269" fmla="*/ 22896 h 51323"/>
                <a:gd name="connsiteX1270" fmla="*/ 24700 w 51323"/>
                <a:gd name="connsiteY1270" fmla="*/ 22501 h 51323"/>
                <a:gd name="connsiteX1271" fmla="*/ 24408 w 51323"/>
                <a:gd name="connsiteY1271" fmla="*/ 22501 h 51323"/>
                <a:gd name="connsiteX1272" fmla="*/ 24511 w 51323"/>
                <a:gd name="connsiteY1272" fmla="*/ 21934 h 51323"/>
                <a:gd name="connsiteX1273" fmla="*/ 24511 w 51323"/>
                <a:gd name="connsiteY1273" fmla="*/ 21763 h 51323"/>
                <a:gd name="connsiteX1274" fmla="*/ 24631 w 51323"/>
                <a:gd name="connsiteY1274" fmla="*/ 21144 h 51323"/>
                <a:gd name="connsiteX1275" fmla="*/ 24734 w 51323"/>
                <a:gd name="connsiteY1275" fmla="*/ 20457 h 51323"/>
                <a:gd name="connsiteX1276" fmla="*/ 24734 w 51323"/>
                <a:gd name="connsiteY1276" fmla="*/ 20457 h 51323"/>
                <a:gd name="connsiteX1277" fmla="*/ 24734 w 51323"/>
                <a:gd name="connsiteY1277" fmla="*/ 20337 h 51323"/>
                <a:gd name="connsiteX1278" fmla="*/ 24734 w 51323"/>
                <a:gd name="connsiteY1278" fmla="*/ 20234 h 51323"/>
                <a:gd name="connsiteX1279" fmla="*/ 25026 w 51323"/>
                <a:gd name="connsiteY1279" fmla="*/ 20045 h 51323"/>
                <a:gd name="connsiteX1280" fmla="*/ 25490 w 51323"/>
                <a:gd name="connsiteY1280" fmla="*/ 20045 h 51323"/>
                <a:gd name="connsiteX1281" fmla="*/ 26607 w 51323"/>
                <a:gd name="connsiteY1281" fmla="*/ 20131 h 51323"/>
                <a:gd name="connsiteX1282" fmla="*/ 27276 w 51323"/>
                <a:gd name="connsiteY1282" fmla="*/ 19564 h 51323"/>
                <a:gd name="connsiteX1283" fmla="*/ 27053 w 51323"/>
                <a:gd name="connsiteY1283" fmla="*/ 19289 h 51323"/>
                <a:gd name="connsiteX1284" fmla="*/ 26813 w 51323"/>
                <a:gd name="connsiteY1284" fmla="*/ 18860 h 51323"/>
                <a:gd name="connsiteX1285" fmla="*/ 26950 w 51323"/>
                <a:gd name="connsiteY1285" fmla="*/ 18722 h 51323"/>
                <a:gd name="connsiteX1286" fmla="*/ 26727 w 51323"/>
                <a:gd name="connsiteY1286" fmla="*/ 18551 h 51323"/>
                <a:gd name="connsiteX1287" fmla="*/ 26229 w 51323"/>
                <a:gd name="connsiteY1287" fmla="*/ 18465 h 51323"/>
                <a:gd name="connsiteX1288" fmla="*/ 26229 w 51323"/>
                <a:gd name="connsiteY1288" fmla="*/ 18345 h 51323"/>
                <a:gd name="connsiteX1289" fmla="*/ 26229 w 51323"/>
                <a:gd name="connsiteY1289" fmla="*/ 18345 h 51323"/>
                <a:gd name="connsiteX1290" fmla="*/ 26229 w 51323"/>
                <a:gd name="connsiteY1290" fmla="*/ 18345 h 51323"/>
                <a:gd name="connsiteX1291" fmla="*/ 26555 w 51323"/>
                <a:gd name="connsiteY1291" fmla="*/ 18121 h 51323"/>
                <a:gd name="connsiteX1292" fmla="*/ 27019 w 51323"/>
                <a:gd name="connsiteY1292" fmla="*/ 18241 h 51323"/>
                <a:gd name="connsiteX1293" fmla="*/ 26899 w 51323"/>
                <a:gd name="connsiteY1293" fmla="*/ 17812 h 51323"/>
                <a:gd name="connsiteX1294" fmla="*/ 27105 w 51323"/>
                <a:gd name="connsiteY1294" fmla="*/ 17812 h 51323"/>
                <a:gd name="connsiteX1295" fmla="*/ 27500 w 51323"/>
                <a:gd name="connsiteY1295" fmla="*/ 17812 h 51323"/>
                <a:gd name="connsiteX1296" fmla="*/ 27775 w 51323"/>
                <a:gd name="connsiteY1296" fmla="*/ 17606 h 51323"/>
                <a:gd name="connsiteX1297" fmla="*/ 27895 w 51323"/>
                <a:gd name="connsiteY1297" fmla="*/ 17280 h 51323"/>
                <a:gd name="connsiteX1298" fmla="*/ 28444 w 51323"/>
                <a:gd name="connsiteY1298" fmla="*/ 17125 h 51323"/>
                <a:gd name="connsiteX1299" fmla="*/ 28444 w 51323"/>
                <a:gd name="connsiteY1299" fmla="*/ 17125 h 51323"/>
                <a:gd name="connsiteX1300" fmla="*/ 28547 w 51323"/>
                <a:gd name="connsiteY1300" fmla="*/ 17022 h 51323"/>
                <a:gd name="connsiteX1301" fmla="*/ 29286 w 51323"/>
                <a:gd name="connsiteY1301" fmla="*/ 16438 h 51323"/>
                <a:gd name="connsiteX1302" fmla="*/ 29458 w 51323"/>
                <a:gd name="connsiteY1302" fmla="*/ 16438 h 51323"/>
                <a:gd name="connsiteX1303" fmla="*/ 29595 w 51323"/>
                <a:gd name="connsiteY1303" fmla="*/ 16438 h 51323"/>
                <a:gd name="connsiteX1304" fmla="*/ 29956 w 51323"/>
                <a:gd name="connsiteY1304" fmla="*/ 16301 h 51323"/>
                <a:gd name="connsiteX1305" fmla="*/ 29389 w 51323"/>
                <a:gd name="connsiteY1305" fmla="*/ 15115 h 51323"/>
                <a:gd name="connsiteX1306" fmla="*/ 29664 w 51323"/>
                <a:gd name="connsiteY1306" fmla="*/ 15115 h 51323"/>
                <a:gd name="connsiteX1307" fmla="*/ 30025 w 51323"/>
                <a:gd name="connsiteY1307" fmla="*/ 15115 h 51323"/>
                <a:gd name="connsiteX1308" fmla="*/ 29922 w 51323"/>
                <a:gd name="connsiteY1308" fmla="*/ 16009 h 51323"/>
                <a:gd name="connsiteX1309" fmla="*/ 30059 w 51323"/>
                <a:gd name="connsiteY1309" fmla="*/ 16094 h 51323"/>
                <a:gd name="connsiteX1310" fmla="*/ 30883 w 51323"/>
                <a:gd name="connsiteY1310" fmla="*/ 16094 h 51323"/>
                <a:gd name="connsiteX1311" fmla="*/ 32103 w 51323"/>
                <a:gd name="connsiteY1311" fmla="*/ 15768 h 51323"/>
                <a:gd name="connsiteX1312" fmla="*/ 32326 w 51323"/>
                <a:gd name="connsiteY1312" fmla="*/ 15768 h 51323"/>
                <a:gd name="connsiteX1313" fmla="*/ 32189 w 51323"/>
                <a:gd name="connsiteY1313" fmla="*/ 15905 h 51323"/>
                <a:gd name="connsiteX1314" fmla="*/ 32704 w 51323"/>
                <a:gd name="connsiteY1314" fmla="*/ 14497 h 51323"/>
                <a:gd name="connsiteX1315" fmla="*/ 33031 w 51323"/>
                <a:gd name="connsiteY1315" fmla="*/ 14222 h 51323"/>
                <a:gd name="connsiteX1316" fmla="*/ 32842 w 51323"/>
                <a:gd name="connsiteY1316" fmla="*/ 14068 h 51323"/>
                <a:gd name="connsiteX1317" fmla="*/ 32842 w 51323"/>
                <a:gd name="connsiteY1317" fmla="*/ 13690 h 51323"/>
                <a:gd name="connsiteX1318" fmla="*/ 32979 w 51323"/>
                <a:gd name="connsiteY1318" fmla="*/ 13690 h 51323"/>
                <a:gd name="connsiteX1319" fmla="*/ 33615 w 51323"/>
                <a:gd name="connsiteY1319" fmla="*/ 13793 h 51323"/>
                <a:gd name="connsiteX1320" fmla="*/ 33752 w 51323"/>
                <a:gd name="connsiteY1320" fmla="*/ 13466 h 51323"/>
                <a:gd name="connsiteX1321" fmla="*/ 33546 w 51323"/>
                <a:gd name="connsiteY1321" fmla="*/ 13192 h 51323"/>
                <a:gd name="connsiteX1322" fmla="*/ 33408 w 51323"/>
                <a:gd name="connsiteY1322" fmla="*/ 13192 h 51323"/>
                <a:gd name="connsiteX1323" fmla="*/ 33031 w 51323"/>
                <a:gd name="connsiteY1323" fmla="*/ 13312 h 51323"/>
                <a:gd name="connsiteX1324" fmla="*/ 33031 w 51323"/>
                <a:gd name="connsiteY1324" fmla="*/ 13312 h 51323"/>
                <a:gd name="connsiteX1325" fmla="*/ 33031 w 51323"/>
                <a:gd name="connsiteY1325" fmla="*/ 13312 h 51323"/>
                <a:gd name="connsiteX1326" fmla="*/ 32567 w 51323"/>
                <a:gd name="connsiteY1326" fmla="*/ 13621 h 51323"/>
                <a:gd name="connsiteX1327" fmla="*/ 32172 w 51323"/>
                <a:gd name="connsiteY1327" fmla="*/ 13260 h 51323"/>
                <a:gd name="connsiteX1328" fmla="*/ 31914 w 51323"/>
                <a:gd name="connsiteY1328" fmla="*/ 12058 h 51323"/>
                <a:gd name="connsiteX1329" fmla="*/ 32017 w 51323"/>
                <a:gd name="connsiteY1329" fmla="*/ 12058 h 51323"/>
                <a:gd name="connsiteX1330" fmla="*/ 32017 w 51323"/>
                <a:gd name="connsiteY1330" fmla="*/ 11817 h 51323"/>
                <a:gd name="connsiteX1331" fmla="*/ 32309 w 51323"/>
                <a:gd name="connsiteY1331" fmla="*/ 11457 h 51323"/>
                <a:gd name="connsiteX1332" fmla="*/ 31502 w 51323"/>
                <a:gd name="connsiteY1332" fmla="*/ 11182 h 51323"/>
                <a:gd name="connsiteX1333" fmla="*/ 31656 w 51323"/>
                <a:gd name="connsiteY1333" fmla="*/ 11714 h 51323"/>
                <a:gd name="connsiteX1334" fmla="*/ 31038 w 51323"/>
                <a:gd name="connsiteY1334" fmla="*/ 12590 h 51323"/>
                <a:gd name="connsiteX1335" fmla="*/ 31175 w 51323"/>
                <a:gd name="connsiteY1335" fmla="*/ 12968 h 51323"/>
                <a:gd name="connsiteX1336" fmla="*/ 31382 w 51323"/>
                <a:gd name="connsiteY1336" fmla="*/ 13793 h 51323"/>
                <a:gd name="connsiteX1337" fmla="*/ 31210 w 51323"/>
                <a:gd name="connsiteY1337" fmla="*/ 13913 h 51323"/>
                <a:gd name="connsiteX1338" fmla="*/ 31485 w 51323"/>
                <a:gd name="connsiteY1338" fmla="*/ 14050 h 51323"/>
                <a:gd name="connsiteX1339" fmla="*/ 31364 w 51323"/>
                <a:gd name="connsiteY1339" fmla="*/ 14188 h 51323"/>
                <a:gd name="connsiteX1340" fmla="*/ 31364 w 51323"/>
                <a:gd name="connsiteY1340" fmla="*/ 14342 h 51323"/>
                <a:gd name="connsiteX1341" fmla="*/ 31364 w 51323"/>
                <a:gd name="connsiteY1341" fmla="*/ 14514 h 51323"/>
                <a:gd name="connsiteX1342" fmla="*/ 31090 w 51323"/>
                <a:gd name="connsiteY1342" fmla="*/ 15236 h 51323"/>
                <a:gd name="connsiteX1343" fmla="*/ 30162 w 51323"/>
                <a:gd name="connsiteY1343" fmla="*/ 14050 h 51323"/>
                <a:gd name="connsiteX1344" fmla="*/ 29939 w 51323"/>
                <a:gd name="connsiteY1344" fmla="*/ 13810 h 51323"/>
                <a:gd name="connsiteX1345" fmla="*/ 29939 w 51323"/>
                <a:gd name="connsiteY1345" fmla="*/ 14102 h 51323"/>
                <a:gd name="connsiteX1346" fmla="*/ 29733 w 51323"/>
                <a:gd name="connsiteY1346" fmla="*/ 13965 h 51323"/>
                <a:gd name="connsiteX1347" fmla="*/ 29595 w 51323"/>
                <a:gd name="connsiteY1347" fmla="*/ 14291 h 51323"/>
                <a:gd name="connsiteX1348" fmla="*/ 29183 w 51323"/>
                <a:gd name="connsiteY1348" fmla="*/ 14428 h 51323"/>
                <a:gd name="connsiteX1349" fmla="*/ 29183 w 51323"/>
                <a:gd name="connsiteY1349" fmla="*/ 14102 h 51323"/>
                <a:gd name="connsiteX1350" fmla="*/ 29011 w 51323"/>
                <a:gd name="connsiteY1350" fmla="*/ 13879 h 51323"/>
                <a:gd name="connsiteX1351" fmla="*/ 29011 w 51323"/>
                <a:gd name="connsiteY1351" fmla="*/ 13879 h 51323"/>
                <a:gd name="connsiteX1352" fmla="*/ 29166 w 51323"/>
                <a:gd name="connsiteY1352" fmla="*/ 13776 h 51323"/>
                <a:gd name="connsiteX1353" fmla="*/ 29166 w 51323"/>
                <a:gd name="connsiteY1353" fmla="*/ 13655 h 51323"/>
                <a:gd name="connsiteX1354" fmla="*/ 29164 w 51323"/>
                <a:gd name="connsiteY1354" fmla="*/ 13485 h 51323"/>
                <a:gd name="connsiteX1355" fmla="*/ 29166 w 51323"/>
                <a:gd name="connsiteY1355" fmla="*/ 13484 h 51323"/>
                <a:gd name="connsiteX1356" fmla="*/ 28943 w 51323"/>
                <a:gd name="connsiteY1356" fmla="*/ 13484 h 51323"/>
                <a:gd name="connsiteX1357" fmla="*/ 28943 w 51323"/>
                <a:gd name="connsiteY1357" fmla="*/ 13381 h 51323"/>
                <a:gd name="connsiteX1358" fmla="*/ 29355 w 51323"/>
                <a:gd name="connsiteY1358" fmla="*/ 13157 h 51323"/>
                <a:gd name="connsiteX1359" fmla="*/ 28994 w 51323"/>
                <a:gd name="connsiteY1359" fmla="*/ 13157 h 51323"/>
                <a:gd name="connsiteX1360" fmla="*/ 29183 w 51323"/>
                <a:gd name="connsiteY1360" fmla="*/ 13020 h 51323"/>
                <a:gd name="connsiteX1361" fmla="*/ 29046 w 51323"/>
                <a:gd name="connsiteY1361" fmla="*/ 12917 h 51323"/>
                <a:gd name="connsiteX1362" fmla="*/ 29183 w 51323"/>
                <a:gd name="connsiteY1362" fmla="*/ 12917 h 51323"/>
                <a:gd name="connsiteX1363" fmla="*/ 29183 w 51323"/>
                <a:gd name="connsiteY1363" fmla="*/ 12797 h 51323"/>
                <a:gd name="connsiteX1364" fmla="*/ 29441 w 51323"/>
                <a:gd name="connsiteY1364" fmla="*/ 12797 h 51323"/>
                <a:gd name="connsiteX1365" fmla="*/ 29578 w 51323"/>
                <a:gd name="connsiteY1365" fmla="*/ 12797 h 51323"/>
                <a:gd name="connsiteX1366" fmla="*/ 29578 w 51323"/>
                <a:gd name="connsiteY1366" fmla="*/ 12676 h 51323"/>
                <a:gd name="connsiteX1367" fmla="*/ 29767 w 51323"/>
                <a:gd name="connsiteY1367" fmla="*/ 12676 h 51323"/>
                <a:gd name="connsiteX1368" fmla="*/ 30059 w 51323"/>
                <a:gd name="connsiteY1368" fmla="*/ 12298 h 51323"/>
                <a:gd name="connsiteX1369" fmla="*/ 29801 w 51323"/>
                <a:gd name="connsiteY1369" fmla="*/ 12419 h 51323"/>
                <a:gd name="connsiteX1370" fmla="*/ 29801 w 51323"/>
                <a:gd name="connsiteY1370" fmla="*/ 12195 h 51323"/>
                <a:gd name="connsiteX1371" fmla="*/ 30145 w 51323"/>
                <a:gd name="connsiteY1371" fmla="*/ 11766 h 51323"/>
                <a:gd name="connsiteX1372" fmla="*/ 30145 w 51323"/>
                <a:gd name="connsiteY1372" fmla="*/ 11611 h 51323"/>
                <a:gd name="connsiteX1373" fmla="*/ 30145 w 51323"/>
                <a:gd name="connsiteY1373" fmla="*/ 11525 h 51323"/>
                <a:gd name="connsiteX1374" fmla="*/ 30145 w 51323"/>
                <a:gd name="connsiteY1374" fmla="*/ 11337 h 51323"/>
                <a:gd name="connsiteX1375" fmla="*/ 30025 w 51323"/>
                <a:gd name="connsiteY1375" fmla="*/ 11148 h 51323"/>
                <a:gd name="connsiteX1376" fmla="*/ 30334 w 51323"/>
                <a:gd name="connsiteY1376" fmla="*/ 10976 h 51323"/>
                <a:gd name="connsiteX1377" fmla="*/ 30334 w 51323"/>
                <a:gd name="connsiteY1377" fmla="*/ 10838 h 51323"/>
                <a:gd name="connsiteX1378" fmla="*/ 30334 w 51323"/>
                <a:gd name="connsiteY1378" fmla="*/ 10684 h 51323"/>
                <a:gd name="connsiteX1379" fmla="*/ 30334 w 51323"/>
                <a:gd name="connsiteY1379" fmla="*/ 10478 h 51323"/>
                <a:gd name="connsiteX1380" fmla="*/ 30506 w 51323"/>
                <a:gd name="connsiteY1380" fmla="*/ 10478 h 51323"/>
                <a:gd name="connsiteX1381" fmla="*/ 30506 w 51323"/>
                <a:gd name="connsiteY1381" fmla="*/ 10323 h 51323"/>
                <a:gd name="connsiteX1382" fmla="*/ 30506 w 51323"/>
                <a:gd name="connsiteY1382" fmla="*/ 10220 h 51323"/>
                <a:gd name="connsiteX1383" fmla="*/ 30609 w 51323"/>
                <a:gd name="connsiteY1383" fmla="*/ 10117 h 51323"/>
                <a:gd name="connsiteX1384" fmla="*/ 30609 w 51323"/>
                <a:gd name="connsiteY1384" fmla="*/ 10117 h 51323"/>
                <a:gd name="connsiteX1385" fmla="*/ 30609 w 51323"/>
                <a:gd name="connsiteY1385" fmla="*/ 10117 h 51323"/>
                <a:gd name="connsiteX1386" fmla="*/ 30609 w 51323"/>
                <a:gd name="connsiteY1386" fmla="*/ 10117 h 51323"/>
                <a:gd name="connsiteX1387" fmla="*/ 30798 w 51323"/>
                <a:gd name="connsiteY1387" fmla="*/ 10117 h 51323"/>
                <a:gd name="connsiteX1388" fmla="*/ 30798 w 51323"/>
                <a:gd name="connsiteY1388" fmla="*/ 9739 h 51323"/>
                <a:gd name="connsiteX1389" fmla="*/ 31124 w 51323"/>
                <a:gd name="connsiteY1389" fmla="*/ 9894 h 51323"/>
                <a:gd name="connsiteX1390" fmla="*/ 31124 w 51323"/>
                <a:gd name="connsiteY1390" fmla="*/ 9619 h 51323"/>
                <a:gd name="connsiteX1391" fmla="*/ 31124 w 51323"/>
                <a:gd name="connsiteY1391" fmla="*/ 9619 h 51323"/>
                <a:gd name="connsiteX1392" fmla="*/ 31124 w 51323"/>
                <a:gd name="connsiteY1392" fmla="*/ 9619 h 51323"/>
                <a:gd name="connsiteX1393" fmla="*/ 31261 w 51323"/>
                <a:gd name="connsiteY1393" fmla="*/ 9619 h 51323"/>
                <a:gd name="connsiteX1394" fmla="*/ 31450 w 51323"/>
                <a:gd name="connsiteY1394" fmla="*/ 9499 h 51323"/>
                <a:gd name="connsiteX1395" fmla="*/ 31553 w 51323"/>
                <a:gd name="connsiteY1395" fmla="*/ 9842 h 51323"/>
                <a:gd name="connsiteX1396" fmla="*/ 31674 w 51323"/>
                <a:gd name="connsiteY1396" fmla="*/ 9842 h 51323"/>
                <a:gd name="connsiteX1397" fmla="*/ 31845 w 51323"/>
                <a:gd name="connsiteY1397" fmla="*/ 9842 h 51323"/>
                <a:gd name="connsiteX1398" fmla="*/ 31742 w 51323"/>
                <a:gd name="connsiteY1398" fmla="*/ 10031 h 51323"/>
                <a:gd name="connsiteX1399" fmla="*/ 32000 w 51323"/>
                <a:gd name="connsiteY1399" fmla="*/ 10220 h 51323"/>
                <a:gd name="connsiteX1400" fmla="*/ 32275 w 51323"/>
                <a:gd name="connsiteY1400" fmla="*/ 10220 h 51323"/>
                <a:gd name="connsiteX1401" fmla="*/ 32275 w 51323"/>
                <a:gd name="connsiteY1401" fmla="*/ 10048 h 51323"/>
                <a:gd name="connsiteX1402" fmla="*/ 32378 w 51323"/>
                <a:gd name="connsiteY1402" fmla="*/ 10048 h 51323"/>
                <a:gd name="connsiteX1403" fmla="*/ 32584 w 51323"/>
                <a:gd name="connsiteY1403" fmla="*/ 10220 h 51323"/>
                <a:gd name="connsiteX1404" fmla="*/ 33683 w 51323"/>
                <a:gd name="connsiteY1404" fmla="*/ 10529 h 51323"/>
                <a:gd name="connsiteX1405" fmla="*/ 33804 w 51323"/>
                <a:gd name="connsiteY1405" fmla="*/ 10529 h 51323"/>
                <a:gd name="connsiteX1406" fmla="*/ 33597 w 51323"/>
                <a:gd name="connsiteY1406" fmla="*/ 11354 h 51323"/>
                <a:gd name="connsiteX1407" fmla="*/ 33426 w 51323"/>
                <a:gd name="connsiteY1407" fmla="*/ 11354 h 51323"/>
                <a:gd name="connsiteX1408" fmla="*/ 33065 w 51323"/>
                <a:gd name="connsiteY1408" fmla="*/ 11354 h 51323"/>
                <a:gd name="connsiteX1409" fmla="*/ 33357 w 51323"/>
                <a:gd name="connsiteY1409" fmla="*/ 11663 h 51323"/>
                <a:gd name="connsiteX1410" fmla="*/ 34576 w 51323"/>
                <a:gd name="connsiteY1410" fmla="*/ 12333 h 51323"/>
                <a:gd name="connsiteX1411" fmla="*/ 34250 w 51323"/>
                <a:gd name="connsiteY1411" fmla="*/ 12006 h 51323"/>
                <a:gd name="connsiteX1412" fmla="*/ 34972 w 51323"/>
                <a:gd name="connsiteY1412" fmla="*/ 11474 h 51323"/>
                <a:gd name="connsiteX1413" fmla="*/ 35143 w 51323"/>
                <a:gd name="connsiteY1413" fmla="*/ 11474 h 51323"/>
                <a:gd name="connsiteX1414" fmla="*/ 34181 w 51323"/>
                <a:gd name="connsiteY1414" fmla="*/ 10340 h 51323"/>
                <a:gd name="connsiteX1415" fmla="*/ 34800 w 51323"/>
                <a:gd name="connsiteY1415" fmla="*/ 10753 h 51323"/>
                <a:gd name="connsiteX1416" fmla="*/ 35143 w 51323"/>
                <a:gd name="connsiteY1416" fmla="*/ 10529 h 51323"/>
                <a:gd name="connsiteX1417" fmla="*/ 35401 w 51323"/>
                <a:gd name="connsiteY1417" fmla="*/ 10289 h 51323"/>
                <a:gd name="connsiteX1418" fmla="*/ 35401 w 51323"/>
                <a:gd name="connsiteY1418" fmla="*/ 10151 h 51323"/>
                <a:gd name="connsiteX1419" fmla="*/ 35727 w 51323"/>
                <a:gd name="connsiteY1419" fmla="*/ 10306 h 51323"/>
                <a:gd name="connsiteX1420" fmla="*/ 35727 w 51323"/>
                <a:gd name="connsiteY1420" fmla="*/ 10306 h 51323"/>
                <a:gd name="connsiteX1421" fmla="*/ 35830 w 51323"/>
                <a:gd name="connsiteY1421" fmla="*/ 9842 h 51323"/>
                <a:gd name="connsiteX1422" fmla="*/ 36019 w 51323"/>
                <a:gd name="connsiteY1422" fmla="*/ 9945 h 51323"/>
                <a:gd name="connsiteX1423" fmla="*/ 36122 w 51323"/>
                <a:gd name="connsiteY1423" fmla="*/ 9945 h 51323"/>
                <a:gd name="connsiteX1424" fmla="*/ 35848 w 51323"/>
                <a:gd name="connsiteY1424" fmla="*/ 9773 h 51323"/>
                <a:gd name="connsiteX1425" fmla="*/ 35848 w 51323"/>
                <a:gd name="connsiteY1425" fmla="*/ 9773 h 51323"/>
                <a:gd name="connsiteX1426" fmla="*/ 36981 w 51323"/>
                <a:gd name="connsiteY1426" fmla="*/ 9894 h 51323"/>
                <a:gd name="connsiteX1427" fmla="*/ 36260 w 51323"/>
                <a:gd name="connsiteY1427" fmla="*/ 9361 h 51323"/>
                <a:gd name="connsiteX1428" fmla="*/ 36260 w 51323"/>
                <a:gd name="connsiteY1428" fmla="*/ 9361 h 51323"/>
                <a:gd name="connsiteX1429" fmla="*/ 36140 w 51323"/>
                <a:gd name="connsiteY1429" fmla="*/ 9361 h 51323"/>
                <a:gd name="connsiteX1430" fmla="*/ 36140 w 51323"/>
                <a:gd name="connsiteY1430" fmla="*/ 9361 h 51323"/>
                <a:gd name="connsiteX1431" fmla="*/ 35882 w 51323"/>
                <a:gd name="connsiteY1431" fmla="*/ 9155 h 51323"/>
                <a:gd name="connsiteX1432" fmla="*/ 35727 w 51323"/>
                <a:gd name="connsiteY1432" fmla="*/ 8983 h 51323"/>
                <a:gd name="connsiteX1433" fmla="*/ 34594 w 51323"/>
                <a:gd name="connsiteY1433" fmla="*/ 7884 h 51323"/>
                <a:gd name="connsiteX1434" fmla="*/ 37136 w 51323"/>
                <a:gd name="connsiteY1434" fmla="*/ 9602 h 51323"/>
                <a:gd name="connsiteX1435" fmla="*/ 37136 w 51323"/>
                <a:gd name="connsiteY1435" fmla="*/ 9602 h 51323"/>
                <a:gd name="connsiteX1436" fmla="*/ 37806 w 51323"/>
                <a:gd name="connsiteY1436" fmla="*/ 10289 h 51323"/>
                <a:gd name="connsiteX1437" fmla="*/ 37806 w 51323"/>
                <a:gd name="connsiteY1437" fmla="*/ 10289 h 51323"/>
                <a:gd name="connsiteX1438" fmla="*/ 37806 w 51323"/>
                <a:gd name="connsiteY1438" fmla="*/ 10289 h 51323"/>
                <a:gd name="connsiteX1439" fmla="*/ 37703 w 51323"/>
                <a:gd name="connsiteY1439" fmla="*/ 10426 h 51323"/>
                <a:gd name="connsiteX1440" fmla="*/ 37101 w 51323"/>
                <a:gd name="connsiteY1440" fmla="*/ 9275 h 51323"/>
                <a:gd name="connsiteX1441" fmla="*/ 37101 w 51323"/>
                <a:gd name="connsiteY1441" fmla="*/ 9275 h 51323"/>
                <a:gd name="connsiteX1442" fmla="*/ 34851 w 51323"/>
                <a:gd name="connsiteY1442" fmla="*/ 7850 h 51323"/>
                <a:gd name="connsiteX1443" fmla="*/ 35933 w 51323"/>
                <a:gd name="connsiteY1443" fmla="*/ 8451 h 51323"/>
                <a:gd name="connsiteX1444" fmla="*/ 36105 w 51323"/>
                <a:gd name="connsiteY1444" fmla="*/ 8451 h 51323"/>
                <a:gd name="connsiteX1445" fmla="*/ 35367 w 51323"/>
                <a:gd name="connsiteY1445" fmla="*/ 8125 h 51323"/>
                <a:gd name="connsiteX1446" fmla="*/ 35367 w 51323"/>
                <a:gd name="connsiteY1446" fmla="*/ 8039 h 51323"/>
                <a:gd name="connsiteX1447" fmla="*/ 35367 w 51323"/>
                <a:gd name="connsiteY1447" fmla="*/ 8039 h 51323"/>
                <a:gd name="connsiteX1448" fmla="*/ 36363 w 51323"/>
                <a:gd name="connsiteY1448" fmla="*/ 8331 h 51323"/>
                <a:gd name="connsiteX1449" fmla="*/ 37256 w 51323"/>
                <a:gd name="connsiteY1449" fmla="*/ 8812 h 51323"/>
                <a:gd name="connsiteX1450" fmla="*/ 37428 w 51323"/>
                <a:gd name="connsiteY1450" fmla="*/ 8812 h 51323"/>
                <a:gd name="connsiteX1451" fmla="*/ 37101 w 51323"/>
                <a:gd name="connsiteY1451" fmla="*/ 8709 h 51323"/>
                <a:gd name="connsiteX1452" fmla="*/ 35384 w 51323"/>
                <a:gd name="connsiteY1452" fmla="*/ 7798 h 51323"/>
                <a:gd name="connsiteX1453" fmla="*/ 34525 w 51323"/>
                <a:gd name="connsiteY1453" fmla="*/ 7231 h 51323"/>
                <a:gd name="connsiteX1454" fmla="*/ 34851 w 51323"/>
                <a:gd name="connsiteY1454" fmla="*/ 7317 h 51323"/>
                <a:gd name="connsiteX1455" fmla="*/ 34267 w 51323"/>
                <a:gd name="connsiteY1455" fmla="*/ 7008 h 51323"/>
                <a:gd name="connsiteX1456" fmla="*/ 34027 w 51323"/>
                <a:gd name="connsiteY1456" fmla="*/ 6922 h 51323"/>
                <a:gd name="connsiteX1457" fmla="*/ 34027 w 51323"/>
                <a:gd name="connsiteY1457" fmla="*/ 6922 h 51323"/>
                <a:gd name="connsiteX1458" fmla="*/ 33872 w 51323"/>
                <a:gd name="connsiteY1458" fmla="*/ 6922 h 51323"/>
                <a:gd name="connsiteX1459" fmla="*/ 33872 w 51323"/>
                <a:gd name="connsiteY1459" fmla="*/ 6922 h 51323"/>
                <a:gd name="connsiteX1460" fmla="*/ 33615 w 51323"/>
                <a:gd name="connsiteY1460" fmla="*/ 6768 h 51323"/>
                <a:gd name="connsiteX1461" fmla="*/ 33615 w 51323"/>
                <a:gd name="connsiteY1461" fmla="*/ 6768 h 51323"/>
                <a:gd name="connsiteX1462" fmla="*/ 33168 w 51323"/>
                <a:gd name="connsiteY1462" fmla="*/ 6458 h 51323"/>
                <a:gd name="connsiteX1463" fmla="*/ 33168 w 51323"/>
                <a:gd name="connsiteY1463" fmla="*/ 6458 h 51323"/>
                <a:gd name="connsiteX1464" fmla="*/ 32910 w 51323"/>
                <a:gd name="connsiteY1464" fmla="*/ 6287 h 51323"/>
                <a:gd name="connsiteX1465" fmla="*/ 32910 w 51323"/>
                <a:gd name="connsiteY1465" fmla="*/ 6287 h 51323"/>
                <a:gd name="connsiteX1466" fmla="*/ 32910 w 51323"/>
                <a:gd name="connsiteY1466" fmla="*/ 6287 h 51323"/>
                <a:gd name="connsiteX1467" fmla="*/ 32910 w 51323"/>
                <a:gd name="connsiteY1467" fmla="*/ 6287 h 51323"/>
                <a:gd name="connsiteX1468" fmla="*/ 32687 w 51323"/>
                <a:gd name="connsiteY1468" fmla="*/ 6184 h 51323"/>
                <a:gd name="connsiteX1469" fmla="*/ 32687 w 51323"/>
                <a:gd name="connsiteY1469" fmla="*/ 6184 h 51323"/>
                <a:gd name="connsiteX1470" fmla="*/ 32687 w 51323"/>
                <a:gd name="connsiteY1470" fmla="*/ 6184 h 51323"/>
                <a:gd name="connsiteX1471" fmla="*/ 32687 w 51323"/>
                <a:gd name="connsiteY1471" fmla="*/ 6184 h 51323"/>
                <a:gd name="connsiteX1472" fmla="*/ 32687 w 51323"/>
                <a:gd name="connsiteY1472" fmla="*/ 6184 h 51323"/>
                <a:gd name="connsiteX1473" fmla="*/ 32962 w 51323"/>
                <a:gd name="connsiteY1473" fmla="*/ 6287 h 51323"/>
                <a:gd name="connsiteX1474" fmla="*/ 32739 w 51323"/>
                <a:gd name="connsiteY1474" fmla="*/ 6184 h 51323"/>
                <a:gd name="connsiteX1475" fmla="*/ 32893 w 51323"/>
                <a:gd name="connsiteY1475" fmla="*/ 6184 h 51323"/>
                <a:gd name="connsiteX1476" fmla="*/ 32807 w 51323"/>
                <a:gd name="connsiteY1476" fmla="*/ 6184 h 51323"/>
                <a:gd name="connsiteX1477" fmla="*/ 32670 w 51323"/>
                <a:gd name="connsiteY1477" fmla="*/ 6184 h 51323"/>
                <a:gd name="connsiteX1478" fmla="*/ 32670 w 51323"/>
                <a:gd name="connsiteY1478" fmla="*/ 6184 h 51323"/>
                <a:gd name="connsiteX1479" fmla="*/ 32532 w 51323"/>
                <a:gd name="connsiteY1479" fmla="*/ 6184 h 51323"/>
                <a:gd name="connsiteX1480" fmla="*/ 32876 w 51323"/>
                <a:gd name="connsiteY1480" fmla="*/ 6304 h 51323"/>
                <a:gd name="connsiteX1481" fmla="*/ 32481 w 51323"/>
                <a:gd name="connsiteY1481" fmla="*/ 6166 h 51323"/>
                <a:gd name="connsiteX1482" fmla="*/ 32481 w 51323"/>
                <a:gd name="connsiteY1482" fmla="*/ 6166 h 51323"/>
                <a:gd name="connsiteX1483" fmla="*/ 32343 w 51323"/>
                <a:gd name="connsiteY1483" fmla="*/ 6166 h 51323"/>
                <a:gd name="connsiteX1484" fmla="*/ 32343 w 51323"/>
                <a:gd name="connsiteY1484" fmla="*/ 6166 h 51323"/>
                <a:gd name="connsiteX1485" fmla="*/ 32343 w 51323"/>
                <a:gd name="connsiteY1485" fmla="*/ 6166 h 51323"/>
                <a:gd name="connsiteX1486" fmla="*/ 32206 w 51323"/>
                <a:gd name="connsiteY1486" fmla="*/ 6166 h 51323"/>
                <a:gd name="connsiteX1487" fmla="*/ 32206 w 51323"/>
                <a:gd name="connsiteY1487" fmla="*/ 6166 h 51323"/>
                <a:gd name="connsiteX1488" fmla="*/ 31742 w 51323"/>
                <a:gd name="connsiteY1488" fmla="*/ 6029 h 51323"/>
                <a:gd name="connsiteX1489" fmla="*/ 31742 w 51323"/>
                <a:gd name="connsiteY1489" fmla="*/ 6029 h 51323"/>
                <a:gd name="connsiteX1490" fmla="*/ 30952 w 51323"/>
                <a:gd name="connsiteY1490" fmla="*/ 5754 h 51323"/>
                <a:gd name="connsiteX1491" fmla="*/ 30952 w 51323"/>
                <a:gd name="connsiteY1491" fmla="*/ 5754 h 51323"/>
                <a:gd name="connsiteX1492" fmla="*/ 31055 w 51323"/>
                <a:gd name="connsiteY1492" fmla="*/ 5754 h 51323"/>
                <a:gd name="connsiteX1493" fmla="*/ 31055 w 51323"/>
                <a:gd name="connsiteY1493" fmla="*/ 5754 h 51323"/>
                <a:gd name="connsiteX1494" fmla="*/ 31605 w 51323"/>
                <a:gd name="connsiteY1494" fmla="*/ 5909 h 51323"/>
                <a:gd name="connsiteX1495" fmla="*/ 31416 w 51323"/>
                <a:gd name="connsiteY1495" fmla="*/ 5909 h 51323"/>
                <a:gd name="connsiteX1496" fmla="*/ 31588 w 51323"/>
                <a:gd name="connsiteY1496" fmla="*/ 5909 h 51323"/>
                <a:gd name="connsiteX1497" fmla="*/ 31485 w 51323"/>
                <a:gd name="connsiteY1497" fmla="*/ 5909 h 51323"/>
                <a:gd name="connsiteX1498" fmla="*/ 31485 w 51323"/>
                <a:gd name="connsiteY1498" fmla="*/ 5909 h 51323"/>
                <a:gd name="connsiteX1499" fmla="*/ 31485 w 51323"/>
                <a:gd name="connsiteY1499" fmla="*/ 5909 h 51323"/>
                <a:gd name="connsiteX1500" fmla="*/ 31811 w 51323"/>
                <a:gd name="connsiteY1500" fmla="*/ 5909 h 51323"/>
                <a:gd name="connsiteX1501" fmla="*/ 31811 w 51323"/>
                <a:gd name="connsiteY1501" fmla="*/ 5909 h 51323"/>
                <a:gd name="connsiteX1502" fmla="*/ 31708 w 51323"/>
                <a:gd name="connsiteY1502" fmla="*/ 5909 h 51323"/>
                <a:gd name="connsiteX1503" fmla="*/ 31708 w 51323"/>
                <a:gd name="connsiteY1503" fmla="*/ 5909 h 51323"/>
                <a:gd name="connsiteX1504" fmla="*/ 31708 w 51323"/>
                <a:gd name="connsiteY1504" fmla="*/ 5909 h 51323"/>
                <a:gd name="connsiteX1505" fmla="*/ 31708 w 51323"/>
                <a:gd name="connsiteY1505" fmla="*/ 5909 h 51323"/>
                <a:gd name="connsiteX1506" fmla="*/ 31708 w 51323"/>
                <a:gd name="connsiteY1506" fmla="*/ 5909 h 51323"/>
                <a:gd name="connsiteX1507" fmla="*/ 32292 w 51323"/>
                <a:gd name="connsiteY1507" fmla="*/ 6046 h 51323"/>
                <a:gd name="connsiteX1508" fmla="*/ 32051 w 51323"/>
                <a:gd name="connsiteY1508" fmla="*/ 6046 h 51323"/>
                <a:gd name="connsiteX1509" fmla="*/ 32378 w 51323"/>
                <a:gd name="connsiteY1509" fmla="*/ 6046 h 51323"/>
                <a:gd name="connsiteX1510" fmla="*/ 32635 w 51323"/>
                <a:gd name="connsiteY1510" fmla="*/ 6046 h 51323"/>
                <a:gd name="connsiteX1511" fmla="*/ 32635 w 51323"/>
                <a:gd name="connsiteY1511" fmla="*/ 6046 h 51323"/>
                <a:gd name="connsiteX1512" fmla="*/ 32773 w 51323"/>
                <a:gd name="connsiteY1512" fmla="*/ 6046 h 51323"/>
                <a:gd name="connsiteX1513" fmla="*/ 32773 w 51323"/>
                <a:gd name="connsiteY1513" fmla="*/ 6046 h 51323"/>
                <a:gd name="connsiteX1514" fmla="*/ 32773 w 51323"/>
                <a:gd name="connsiteY1514" fmla="*/ 6046 h 51323"/>
                <a:gd name="connsiteX1515" fmla="*/ 34010 w 51323"/>
                <a:gd name="connsiteY1515" fmla="*/ 6493 h 51323"/>
                <a:gd name="connsiteX1516" fmla="*/ 34010 w 51323"/>
                <a:gd name="connsiteY1516" fmla="*/ 6493 h 51323"/>
                <a:gd name="connsiteX1517" fmla="*/ 34645 w 51323"/>
                <a:gd name="connsiteY1517" fmla="*/ 6768 h 51323"/>
                <a:gd name="connsiteX1518" fmla="*/ 34645 w 51323"/>
                <a:gd name="connsiteY1518" fmla="*/ 6768 h 51323"/>
                <a:gd name="connsiteX1519" fmla="*/ 35470 w 51323"/>
                <a:gd name="connsiteY1519" fmla="*/ 7163 h 51323"/>
                <a:gd name="connsiteX1520" fmla="*/ 34662 w 51323"/>
                <a:gd name="connsiteY1520" fmla="*/ 6733 h 51323"/>
                <a:gd name="connsiteX1521" fmla="*/ 34662 w 51323"/>
                <a:gd name="connsiteY1521" fmla="*/ 6733 h 51323"/>
                <a:gd name="connsiteX1522" fmla="*/ 34353 w 51323"/>
                <a:gd name="connsiteY1522" fmla="*/ 6596 h 51323"/>
                <a:gd name="connsiteX1523" fmla="*/ 34491 w 51323"/>
                <a:gd name="connsiteY1523" fmla="*/ 6596 h 51323"/>
                <a:gd name="connsiteX1524" fmla="*/ 34250 w 51323"/>
                <a:gd name="connsiteY1524" fmla="*/ 6493 h 51323"/>
                <a:gd name="connsiteX1525" fmla="*/ 34113 w 51323"/>
                <a:gd name="connsiteY1525" fmla="*/ 6493 h 51323"/>
                <a:gd name="connsiteX1526" fmla="*/ 34422 w 51323"/>
                <a:gd name="connsiteY1526" fmla="*/ 6596 h 51323"/>
                <a:gd name="connsiteX1527" fmla="*/ 34113 w 51323"/>
                <a:gd name="connsiteY1527" fmla="*/ 6476 h 51323"/>
                <a:gd name="connsiteX1528" fmla="*/ 34628 w 51323"/>
                <a:gd name="connsiteY1528" fmla="*/ 6630 h 51323"/>
                <a:gd name="connsiteX1529" fmla="*/ 34473 w 51323"/>
                <a:gd name="connsiteY1529" fmla="*/ 6630 h 51323"/>
                <a:gd name="connsiteX1530" fmla="*/ 34473 w 51323"/>
                <a:gd name="connsiteY1530" fmla="*/ 6630 h 51323"/>
                <a:gd name="connsiteX1531" fmla="*/ 33700 w 51323"/>
                <a:gd name="connsiteY1531" fmla="*/ 4827 h 51323"/>
                <a:gd name="connsiteX1532" fmla="*/ 49314 w 51323"/>
                <a:gd name="connsiteY1532" fmla="*/ 25438 h 51323"/>
                <a:gd name="connsiteX1533" fmla="*/ 49177 w 51323"/>
                <a:gd name="connsiteY1533" fmla="*/ 26452 h 51323"/>
                <a:gd name="connsiteX1534" fmla="*/ 49159 w 51323"/>
                <a:gd name="connsiteY1534" fmla="*/ 26589 h 5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</a:cxnLst>
              <a:rect l="l" t="t" r="r" b="b"/>
              <a:pathLst>
                <a:path w="51323" h="51323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FC7ED54-A193-4F93-98BD-A9F95F53F901}"/>
                </a:ext>
              </a:extLst>
            </p:cNvPr>
            <p:cNvSpPr/>
            <p:nvPr/>
          </p:nvSpPr>
          <p:spPr>
            <a:xfrm rot="16200000">
              <a:off x="12026199" y="6563439"/>
              <a:ext cx="13277" cy="68070"/>
            </a:xfrm>
            <a:custGeom>
              <a:avLst/>
              <a:gdLst>
                <a:gd name="connsiteX0" fmla="*/ 13277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7 w 13277"/>
                <a:gd name="connsiteY3" fmla="*/ 0 h 68070"/>
                <a:gd name="connsiteX4" fmla="*/ 0 w 13277"/>
                <a:gd name="connsiteY4" fmla="*/ 17984 h 68070"/>
                <a:gd name="connsiteX5" fmla="*/ 13277 w 13277"/>
                <a:gd name="connsiteY5" fmla="*/ 17984 h 68070"/>
                <a:gd name="connsiteX6" fmla="*/ 13277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1CD3797-433D-4591-AF9B-5A6A6CF23E51}"/>
                </a:ext>
              </a:extLst>
            </p:cNvPr>
            <p:cNvSpPr/>
            <p:nvPr/>
          </p:nvSpPr>
          <p:spPr>
            <a:xfrm rot="16200000">
              <a:off x="12018640" y="6529825"/>
              <a:ext cx="45208" cy="51256"/>
            </a:xfrm>
            <a:custGeom>
              <a:avLst/>
              <a:gdLst>
                <a:gd name="connsiteX0" fmla="*/ 40279 w 45208"/>
                <a:gd name="connsiteY0" fmla="*/ 4038 h 51256"/>
                <a:gd name="connsiteX1" fmla="*/ 45209 w 45208"/>
                <a:gd name="connsiteY1" fmla="*/ 17521 h 51256"/>
                <a:gd name="connsiteX2" fmla="*/ 45209 w 45208"/>
                <a:gd name="connsiteY2" fmla="*/ 51256 h 51256"/>
                <a:gd name="connsiteX3" fmla="*/ 31794 w 45208"/>
                <a:gd name="connsiteY3" fmla="*/ 51256 h 51256"/>
                <a:gd name="connsiteX4" fmla="*/ 31794 w 45208"/>
                <a:gd name="connsiteY4" fmla="*/ 20785 h 51256"/>
                <a:gd name="connsiteX5" fmla="*/ 30746 w 45208"/>
                <a:gd name="connsiteY5" fmla="*/ 14722 h 51256"/>
                <a:gd name="connsiteX6" fmla="*/ 23446 w 45208"/>
                <a:gd name="connsiteY6" fmla="*/ 10874 h 51256"/>
                <a:gd name="connsiteX7" fmla="*/ 14360 w 45208"/>
                <a:gd name="connsiteY7" fmla="*/ 16525 h 51256"/>
                <a:gd name="connsiteX8" fmla="*/ 13089 w 45208"/>
                <a:gd name="connsiteY8" fmla="*/ 24152 h 51256"/>
                <a:gd name="connsiteX9" fmla="*/ 13089 w 45208"/>
                <a:gd name="connsiteY9" fmla="*/ 51256 h 51256"/>
                <a:gd name="connsiteX10" fmla="*/ 0 w 45208"/>
                <a:gd name="connsiteY10" fmla="*/ 51256 h 51256"/>
                <a:gd name="connsiteX11" fmla="*/ 0 w 45208"/>
                <a:gd name="connsiteY11" fmla="*/ 1272 h 51256"/>
                <a:gd name="connsiteX12" fmla="*/ 12676 w 45208"/>
                <a:gd name="connsiteY12" fmla="*/ 1272 h 51256"/>
                <a:gd name="connsiteX13" fmla="*/ 12676 w 45208"/>
                <a:gd name="connsiteY13" fmla="*/ 8607 h 51256"/>
                <a:gd name="connsiteX14" fmla="*/ 17434 w 45208"/>
                <a:gd name="connsiteY14" fmla="*/ 3042 h 51256"/>
                <a:gd name="connsiteX15" fmla="*/ 27637 w 45208"/>
                <a:gd name="connsiteY15" fmla="*/ 19 h 51256"/>
                <a:gd name="connsiteX16" fmla="*/ 40279 w 45208"/>
                <a:gd name="connsiteY16" fmla="*/ 4038 h 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6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34C1BB38-5735-40B9-BFAD-56E5CBF32645}"/>
                </a:ext>
              </a:extLst>
            </p:cNvPr>
            <p:cNvSpPr/>
            <p:nvPr/>
          </p:nvSpPr>
          <p:spPr>
            <a:xfrm rot="16200000">
              <a:off x="12018195" y="6477145"/>
              <a:ext cx="28942" cy="68414"/>
            </a:xfrm>
            <a:custGeom>
              <a:avLst/>
              <a:gdLst>
                <a:gd name="connsiteX0" fmla="*/ 25868 w 28942"/>
                <a:gd name="connsiteY0" fmla="*/ 0 h 68414"/>
                <a:gd name="connsiteX1" fmla="*/ 28616 w 28942"/>
                <a:gd name="connsiteY1" fmla="*/ 206 h 68414"/>
                <a:gd name="connsiteX2" fmla="*/ 28616 w 28942"/>
                <a:gd name="connsiteY2" fmla="*/ 10941 h 68414"/>
                <a:gd name="connsiteX3" fmla="*/ 24923 w 28942"/>
                <a:gd name="connsiteY3" fmla="*/ 10735 h 68414"/>
                <a:gd name="connsiteX4" fmla="*/ 21333 w 28942"/>
                <a:gd name="connsiteY4" fmla="*/ 11869 h 68414"/>
                <a:gd name="connsiteX5" fmla="*/ 20354 w 28942"/>
                <a:gd name="connsiteY5" fmla="*/ 14566 h 68414"/>
                <a:gd name="connsiteX6" fmla="*/ 20354 w 28942"/>
                <a:gd name="connsiteY6" fmla="*/ 18791 h 68414"/>
                <a:gd name="connsiteX7" fmla="*/ 28943 w 28942"/>
                <a:gd name="connsiteY7" fmla="*/ 18791 h 68414"/>
                <a:gd name="connsiteX8" fmla="*/ 28943 w 28942"/>
                <a:gd name="connsiteY8" fmla="*/ 28032 h 68414"/>
                <a:gd name="connsiteX9" fmla="*/ 20354 w 28942"/>
                <a:gd name="connsiteY9" fmla="*/ 28032 h 68414"/>
                <a:gd name="connsiteX10" fmla="*/ 20354 w 28942"/>
                <a:gd name="connsiteY10" fmla="*/ 68414 h 68414"/>
                <a:gd name="connsiteX11" fmla="*/ 7352 w 28942"/>
                <a:gd name="connsiteY11" fmla="*/ 68414 h 68414"/>
                <a:gd name="connsiteX12" fmla="*/ 7352 w 28942"/>
                <a:gd name="connsiteY12" fmla="*/ 28032 h 68414"/>
                <a:gd name="connsiteX13" fmla="*/ 0 w 28942"/>
                <a:gd name="connsiteY13" fmla="*/ 28032 h 68414"/>
                <a:gd name="connsiteX14" fmla="*/ 0 w 28942"/>
                <a:gd name="connsiteY14" fmla="*/ 18791 h 68414"/>
                <a:gd name="connsiteX15" fmla="*/ 7163 w 28942"/>
                <a:gd name="connsiteY15" fmla="*/ 18791 h 68414"/>
                <a:gd name="connsiteX16" fmla="*/ 7163 w 28942"/>
                <a:gd name="connsiteY16" fmla="*/ 15579 h 68414"/>
                <a:gd name="connsiteX17" fmla="*/ 9877 w 28942"/>
                <a:gd name="connsiteY17" fmla="*/ 4500 h 68414"/>
                <a:gd name="connsiteX18" fmla="*/ 23618 w 28942"/>
                <a:gd name="connsiteY18" fmla="*/ 0 h 68414"/>
                <a:gd name="connsiteX19" fmla="*/ 25868 w 28942"/>
                <a:gd name="connsiteY19" fmla="*/ 0 h 6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42" h="68414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661FAB9-9525-4A2E-ADDE-3D6DE582FDD9}"/>
                </a:ext>
              </a:extLst>
            </p:cNvPr>
            <p:cNvSpPr/>
            <p:nvPr/>
          </p:nvSpPr>
          <p:spPr>
            <a:xfrm rot="16200000">
              <a:off x="12016830" y="6161182"/>
              <a:ext cx="49036" cy="51048"/>
            </a:xfrm>
            <a:custGeom>
              <a:avLst/>
              <a:gdLst>
                <a:gd name="connsiteX0" fmla="*/ 42949 w 49036"/>
                <a:gd name="connsiteY0" fmla="*/ 43542 h 51048"/>
                <a:gd name="connsiteX1" fmla="*/ 24519 w 49036"/>
                <a:gd name="connsiteY1" fmla="*/ 51049 h 51048"/>
                <a:gd name="connsiteX2" fmla="*/ 6071 w 49036"/>
                <a:gd name="connsiteY2" fmla="*/ 43542 h 51048"/>
                <a:gd name="connsiteX3" fmla="*/ 8 w 49036"/>
                <a:gd name="connsiteY3" fmla="*/ 25576 h 51048"/>
                <a:gd name="connsiteX4" fmla="*/ 6071 w 49036"/>
                <a:gd name="connsiteY4" fmla="*/ 7592 h 51048"/>
                <a:gd name="connsiteX5" fmla="*/ 24519 w 49036"/>
                <a:gd name="connsiteY5" fmla="*/ 0 h 51048"/>
                <a:gd name="connsiteX6" fmla="*/ 42949 w 49036"/>
                <a:gd name="connsiteY6" fmla="*/ 7592 h 51048"/>
                <a:gd name="connsiteX7" fmla="*/ 49030 w 49036"/>
                <a:gd name="connsiteY7" fmla="*/ 25576 h 51048"/>
                <a:gd name="connsiteX8" fmla="*/ 42949 w 49036"/>
                <a:gd name="connsiteY8" fmla="*/ 43542 h 51048"/>
                <a:gd name="connsiteX9" fmla="*/ 32918 w 49036"/>
                <a:gd name="connsiteY9" fmla="*/ 36672 h 51048"/>
                <a:gd name="connsiteX10" fmla="*/ 35872 w 49036"/>
                <a:gd name="connsiteY10" fmla="*/ 25576 h 51048"/>
                <a:gd name="connsiteX11" fmla="*/ 32918 w 49036"/>
                <a:gd name="connsiteY11" fmla="*/ 14480 h 51048"/>
                <a:gd name="connsiteX12" fmla="*/ 17172 w 49036"/>
                <a:gd name="connsiteY12" fmla="*/ 13307 h 51048"/>
                <a:gd name="connsiteX13" fmla="*/ 15999 w 49036"/>
                <a:gd name="connsiteY13" fmla="*/ 14480 h 51048"/>
                <a:gd name="connsiteX14" fmla="*/ 13027 w 49036"/>
                <a:gd name="connsiteY14" fmla="*/ 25576 h 51048"/>
                <a:gd name="connsiteX15" fmla="*/ 15999 w 49036"/>
                <a:gd name="connsiteY15" fmla="*/ 36706 h 51048"/>
                <a:gd name="connsiteX16" fmla="*/ 31692 w 49036"/>
                <a:gd name="connsiteY16" fmla="*/ 37932 h 51048"/>
                <a:gd name="connsiteX17" fmla="*/ 32918 w 49036"/>
                <a:gd name="connsiteY17" fmla="*/ 36706 h 51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036" h="51048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bg1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E2E67E8-04E8-4D20-B8D4-6E67405547E0}"/>
                </a:ext>
              </a:extLst>
            </p:cNvPr>
            <p:cNvSpPr/>
            <p:nvPr/>
          </p:nvSpPr>
          <p:spPr>
            <a:xfrm rot="16200000">
              <a:off x="12005374" y="6370523"/>
              <a:ext cx="71791" cy="51205"/>
            </a:xfrm>
            <a:custGeom>
              <a:avLst/>
              <a:gdLst>
                <a:gd name="connsiteX0" fmla="*/ 62643 w 71791"/>
                <a:gd name="connsiteY0" fmla="*/ 1307 h 51205"/>
                <a:gd name="connsiteX1" fmla="*/ 68466 w 71791"/>
                <a:gd name="connsiteY1" fmla="*/ 5808 h 51205"/>
                <a:gd name="connsiteX2" fmla="*/ 71317 w 71791"/>
                <a:gd name="connsiteY2" fmla="*/ 12249 h 51205"/>
                <a:gd name="connsiteX3" fmla="*/ 71781 w 71791"/>
                <a:gd name="connsiteY3" fmla="*/ 19635 h 51205"/>
                <a:gd name="connsiteX4" fmla="*/ 71781 w 71791"/>
                <a:gd name="connsiteY4" fmla="*/ 51205 h 51205"/>
                <a:gd name="connsiteX5" fmla="*/ 58349 w 71791"/>
                <a:gd name="connsiteY5" fmla="*/ 51205 h 51205"/>
                <a:gd name="connsiteX6" fmla="*/ 58349 w 71791"/>
                <a:gd name="connsiteY6" fmla="*/ 19308 h 51205"/>
                <a:gd name="connsiteX7" fmla="*/ 57438 w 71791"/>
                <a:gd name="connsiteY7" fmla="*/ 14636 h 51205"/>
                <a:gd name="connsiteX8" fmla="*/ 50997 w 71791"/>
                <a:gd name="connsiteY8" fmla="*/ 11201 h 51205"/>
                <a:gd name="connsiteX9" fmla="*/ 43525 w 71791"/>
                <a:gd name="connsiteY9" fmla="*/ 15701 h 51205"/>
                <a:gd name="connsiteX10" fmla="*/ 42460 w 71791"/>
                <a:gd name="connsiteY10" fmla="*/ 21455 h 51205"/>
                <a:gd name="connsiteX11" fmla="*/ 42460 w 71791"/>
                <a:gd name="connsiteY11" fmla="*/ 51205 h 51205"/>
                <a:gd name="connsiteX12" fmla="*/ 29269 w 71791"/>
                <a:gd name="connsiteY12" fmla="*/ 51205 h 51205"/>
                <a:gd name="connsiteX13" fmla="*/ 29269 w 71791"/>
                <a:gd name="connsiteY13" fmla="*/ 21387 h 51205"/>
                <a:gd name="connsiteX14" fmla="*/ 28359 w 71791"/>
                <a:gd name="connsiteY14" fmla="*/ 14911 h 51205"/>
                <a:gd name="connsiteX15" fmla="*/ 21883 w 71791"/>
                <a:gd name="connsiteY15" fmla="*/ 11270 h 51205"/>
                <a:gd name="connsiteX16" fmla="*/ 14342 w 71791"/>
                <a:gd name="connsiteY16" fmla="*/ 14911 h 51205"/>
                <a:gd name="connsiteX17" fmla="*/ 13277 w 71791"/>
                <a:gd name="connsiteY17" fmla="*/ 21060 h 51205"/>
                <a:gd name="connsiteX18" fmla="*/ 13277 w 71791"/>
                <a:gd name="connsiteY18" fmla="*/ 51205 h 51205"/>
                <a:gd name="connsiteX19" fmla="*/ 0 w 71791"/>
                <a:gd name="connsiteY19" fmla="*/ 51205 h 51205"/>
                <a:gd name="connsiteX20" fmla="*/ 0 w 71791"/>
                <a:gd name="connsiteY20" fmla="*/ 1221 h 51205"/>
                <a:gd name="connsiteX21" fmla="*/ 12728 w 71791"/>
                <a:gd name="connsiteY21" fmla="*/ 1221 h 51205"/>
                <a:gd name="connsiteX22" fmla="*/ 12728 w 71791"/>
                <a:gd name="connsiteY22" fmla="*/ 8556 h 51205"/>
                <a:gd name="connsiteX23" fmla="*/ 17331 w 71791"/>
                <a:gd name="connsiteY23" fmla="*/ 2991 h 51205"/>
                <a:gd name="connsiteX24" fmla="*/ 36483 w 71791"/>
                <a:gd name="connsiteY24" fmla="*/ 2578 h 51205"/>
                <a:gd name="connsiteX25" fmla="*/ 40726 w 71791"/>
                <a:gd name="connsiteY25" fmla="*/ 8556 h 51205"/>
                <a:gd name="connsiteX26" fmla="*/ 47098 w 71791"/>
                <a:gd name="connsiteY26" fmla="*/ 2063 h 51205"/>
                <a:gd name="connsiteX27" fmla="*/ 56116 w 71791"/>
                <a:gd name="connsiteY27" fmla="*/ 2 h 51205"/>
                <a:gd name="connsiteX28" fmla="*/ 62643 w 71791"/>
                <a:gd name="connsiteY28" fmla="*/ 1307 h 5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1791" h="51205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bg1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0013948-917C-44E7-8DBE-C5E0FD0A2100}"/>
                </a:ext>
              </a:extLst>
            </p:cNvPr>
            <p:cNvSpPr/>
            <p:nvPr/>
          </p:nvSpPr>
          <p:spPr>
            <a:xfrm rot="16200000">
              <a:off x="12026199" y="6307354"/>
              <a:ext cx="13277" cy="68070"/>
            </a:xfrm>
            <a:custGeom>
              <a:avLst/>
              <a:gdLst>
                <a:gd name="connsiteX0" fmla="*/ 13278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8 w 13277"/>
                <a:gd name="connsiteY3" fmla="*/ 0 h 68070"/>
                <a:gd name="connsiteX4" fmla="*/ 0 w 13277"/>
                <a:gd name="connsiteY4" fmla="*/ 17984 h 68070"/>
                <a:gd name="connsiteX5" fmla="*/ 13278 w 13277"/>
                <a:gd name="connsiteY5" fmla="*/ 17984 h 68070"/>
                <a:gd name="connsiteX6" fmla="*/ 13278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bg1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7DCBD3E-5674-40CB-910B-ABFD71044CD1}"/>
                </a:ext>
              </a:extLst>
            </p:cNvPr>
            <p:cNvSpPr/>
            <p:nvPr/>
          </p:nvSpPr>
          <p:spPr>
            <a:xfrm rot="16200000">
              <a:off x="12018641" y="6273739"/>
              <a:ext cx="45208" cy="51255"/>
            </a:xfrm>
            <a:custGeom>
              <a:avLst/>
              <a:gdLst>
                <a:gd name="connsiteX0" fmla="*/ 40296 w 45208"/>
                <a:gd name="connsiteY0" fmla="*/ 4038 h 51255"/>
                <a:gd name="connsiteX1" fmla="*/ 45209 w 45208"/>
                <a:gd name="connsiteY1" fmla="*/ 17521 h 51255"/>
                <a:gd name="connsiteX2" fmla="*/ 45209 w 45208"/>
                <a:gd name="connsiteY2" fmla="*/ 51256 h 51255"/>
                <a:gd name="connsiteX3" fmla="*/ 31794 w 45208"/>
                <a:gd name="connsiteY3" fmla="*/ 51256 h 51255"/>
                <a:gd name="connsiteX4" fmla="*/ 31794 w 45208"/>
                <a:gd name="connsiteY4" fmla="*/ 20785 h 51255"/>
                <a:gd name="connsiteX5" fmla="*/ 30746 w 45208"/>
                <a:gd name="connsiteY5" fmla="*/ 14722 h 51255"/>
                <a:gd name="connsiteX6" fmla="*/ 23446 w 45208"/>
                <a:gd name="connsiteY6" fmla="*/ 10874 h 51255"/>
                <a:gd name="connsiteX7" fmla="*/ 14377 w 45208"/>
                <a:gd name="connsiteY7" fmla="*/ 16525 h 51255"/>
                <a:gd name="connsiteX8" fmla="*/ 13089 w 45208"/>
                <a:gd name="connsiteY8" fmla="*/ 24151 h 51255"/>
                <a:gd name="connsiteX9" fmla="*/ 13089 w 45208"/>
                <a:gd name="connsiteY9" fmla="*/ 51256 h 51255"/>
                <a:gd name="connsiteX10" fmla="*/ 0 w 45208"/>
                <a:gd name="connsiteY10" fmla="*/ 51256 h 51255"/>
                <a:gd name="connsiteX11" fmla="*/ 0 w 45208"/>
                <a:gd name="connsiteY11" fmla="*/ 1272 h 51255"/>
                <a:gd name="connsiteX12" fmla="*/ 12676 w 45208"/>
                <a:gd name="connsiteY12" fmla="*/ 1272 h 51255"/>
                <a:gd name="connsiteX13" fmla="*/ 12676 w 45208"/>
                <a:gd name="connsiteY13" fmla="*/ 8607 h 51255"/>
                <a:gd name="connsiteX14" fmla="*/ 17434 w 45208"/>
                <a:gd name="connsiteY14" fmla="*/ 3042 h 51255"/>
                <a:gd name="connsiteX15" fmla="*/ 27637 w 45208"/>
                <a:gd name="connsiteY15" fmla="*/ 18 h 51255"/>
                <a:gd name="connsiteX16" fmla="*/ 40296 w 45208"/>
                <a:gd name="connsiteY16" fmla="*/ 4038 h 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5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bg1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6AD7FAC-FE8F-4E5C-AC0E-214C9EA7FF92}"/>
                </a:ext>
              </a:extLst>
            </p:cNvPr>
            <p:cNvSpPr/>
            <p:nvPr/>
          </p:nvSpPr>
          <p:spPr>
            <a:xfrm rot="16200000">
              <a:off x="12017163" y="6218687"/>
              <a:ext cx="48082" cy="51510"/>
            </a:xfrm>
            <a:custGeom>
              <a:avLst/>
              <a:gdLst>
                <a:gd name="connsiteX0" fmla="*/ 35384 w 48082"/>
                <a:gd name="connsiteY0" fmla="*/ 2281 h 51510"/>
                <a:gd name="connsiteX1" fmla="*/ 43766 w 48082"/>
                <a:gd name="connsiteY1" fmla="*/ 9444 h 51510"/>
                <a:gd name="connsiteX2" fmla="*/ 47631 w 48082"/>
                <a:gd name="connsiteY2" fmla="*/ 19475 h 51510"/>
                <a:gd name="connsiteX3" fmla="*/ 48043 w 48082"/>
                <a:gd name="connsiteY3" fmla="*/ 29094 h 51510"/>
                <a:gd name="connsiteX4" fmla="*/ 12711 w 48082"/>
                <a:gd name="connsiteY4" fmla="*/ 29094 h 51510"/>
                <a:gd name="connsiteX5" fmla="*/ 17778 w 48082"/>
                <a:gd name="connsiteY5" fmla="*/ 39400 h 51510"/>
                <a:gd name="connsiteX6" fmla="*/ 24769 w 48082"/>
                <a:gd name="connsiteY6" fmla="*/ 41237 h 51510"/>
                <a:gd name="connsiteX7" fmla="*/ 31811 w 48082"/>
                <a:gd name="connsiteY7" fmla="*/ 39004 h 51510"/>
                <a:gd name="connsiteX8" fmla="*/ 34405 w 48082"/>
                <a:gd name="connsiteY8" fmla="*/ 35672 h 51510"/>
                <a:gd name="connsiteX9" fmla="*/ 47407 w 48082"/>
                <a:gd name="connsiteY9" fmla="*/ 35672 h 51510"/>
                <a:gd name="connsiteX10" fmla="*/ 42701 w 48082"/>
                <a:gd name="connsiteY10" fmla="*/ 44432 h 51510"/>
                <a:gd name="connsiteX11" fmla="*/ 24459 w 48082"/>
                <a:gd name="connsiteY11" fmla="*/ 51509 h 51510"/>
                <a:gd name="connsiteX12" fmla="*/ 7386 w 48082"/>
                <a:gd name="connsiteY12" fmla="*/ 45549 h 51510"/>
                <a:gd name="connsiteX13" fmla="*/ 0 w 48082"/>
                <a:gd name="connsiteY13" fmla="*/ 26139 h 51510"/>
                <a:gd name="connsiteX14" fmla="*/ 6682 w 48082"/>
                <a:gd name="connsiteY14" fmla="*/ 6816 h 51510"/>
                <a:gd name="connsiteX15" fmla="*/ 23961 w 48082"/>
                <a:gd name="connsiteY15" fmla="*/ 14 h 51510"/>
                <a:gd name="connsiteX16" fmla="*/ 35384 w 48082"/>
                <a:gd name="connsiteY16" fmla="*/ 2281 h 51510"/>
                <a:gd name="connsiteX17" fmla="*/ 16490 w 48082"/>
                <a:gd name="connsiteY17" fmla="*/ 13223 h 51510"/>
                <a:gd name="connsiteX18" fmla="*/ 13054 w 48082"/>
                <a:gd name="connsiteY18" fmla="*/ 20797 h 51510"/>
                <a:gd name="connsiteX19" fmla="*/ 34886 w 48082"/>
                <a:gd name="connsiteY19" fmla="*/ 20797 h 51510"/>
                <a:gd name="connsiteX20" fmla="*/ 31450 w 48082"/>
                <a:gd name="connsiteY20" fmla="*/ 13137 h 51510"/>
                <a:gd name="connsiteX21" fmla="*/ 23961 w 48082"/>
                <a:gd name="connsiteY21" fmla="*/ 10491 h 51510"/>
                <a:gd name="connsiteX22" fmla="*/ 16490 w 48082"/>
                <a:gd name="connsiteY22" fmla="*/ 13223 h 5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8082" h="5151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bg1"/>
            </a:solidFill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9EDD5925-EA7C-4C82-A33E-C3CE8EA3BC2F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 rot="16200000">
            <a:off x="11811887" y="6349041"/>
            <a:ext cx="441438" cy="68706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60F969-E23C-496D-A989-9312D6EAF3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>
              <a:lnSpc>
                <a:spcPct val="85000"/>
              </a:lnSpc>
            </a:pPr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A9E90D-E2CC-4615-8D50-28FACCCB35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2" y="1859913"/>
            <a:ext cx="11089973" cy="134908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D71C6E-2232-442E-8448-AF1BD6203E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2" y="6465614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 rtl="0"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0662E3-7504-4CA7-A6CD-7C5C765B73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 algn="r" rtl="0">
              <a:defRPr kumimoji="0" lang="en-IN" sz="10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  <p:sp>
        <p:nvSpPr>
          <p:cNvPr id="84" name="Copyright">
            <a:extLst>
              <a:ext uri="{FF2B5EF4-FFF2-40B4-BE49-F238E27FC236}">
                <a16:creationId xmlns:a16="http://schemas.microsoft.com/office/drawing/2014/main" id="{99040E17-1592-44EC-BAF2-3AB7B9CEFCC4}"/>
              </a:ext>
            </a:extLst>
          </p:cNvPr>
          <p:cNvSpPr txBox="1"/>
          <p:nvPr userDrawn="1"/>
        </p:nvSpPr>
        <p:spPr>
          <a:xfrm rot="16200000">
            <a:off x="11250971" y="5290633"/>
            <a:ext cx="1567737" cy="110800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lvl="0" algn="l" rtl="0"/>
            <a:r>
              <a:rPr lang="en-US" sz="800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0. All rights reserved.</a:t>
            </a:r>
          </a:p>
        </p:txBody>
      </p:sp>
      <p:cxnSp>
        <p:nvCxnSpPr>
          <p:cNvPr id="561" name="Straight Connector 560">
            <a:extLst>
              <a:ext uri="{FF2B5EF4-FFF2-40B4-BE49-F238E27FC236}">
                <a16:creationId xmlns:a16="http://schemas.microsoft.com/office/drawing/2014/main" id="{123CE0EA-9B99-45A6-9191-1D727AB177A1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FB488F1C-E163-4C22-86CF-A1A896433596}"/>
              </a:ext>
            </a:extLst>
          </p:cNvPr>
          <p:cNvSpPr txBox="1">
            <a:spLocks/>
          </p:cNvSpPr>
          <p:nvPr userDrawn="1"/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kumimoji="0" lang="en-IN" sz="1000" b="0" i="0" u="none" strike="noStrike" kern="1200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>
              <a:lnSpc>
                <a:spcPct val="90000"/>
              </a:lnSpc>
            </a:pPr>
            <a:fld id="{2547BBBC-05CB-49BC-A9CC-2D869F0C1D2C}" type="slidenum">
              <a:rPr lang="en-US" smtClean="0"/>
              <a:pPr rtl="0"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4429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IN" sz="3200" b="0" kern="1200" dirty="0">
          <a:solidFill>
            <a:schemeClr val="tx2"/>
          </a:solidFill>
          <a:latin typeface="Franklin Gothic Demi" panose="020B070302010202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76213" indent="-176213" algn="l" defTabSz="914400" rtl="0" eaLnBrk="1" latinLnBrk="0" hangingPunct="1">
        <a:lnSpc>
          <a:spcPct val="95000"/>
        </a:lnSpc>
        <a:spcBef>
          <a:spcPts val="500"/>
        </a:spcBef>
        <a:buClr>
          <a:schemeClr val="tx2"/>
        </a:buClr>
        <a:buSzPct val="90000"/>
        <a:buFont typeface="Wingdings" panose="05000000000000000000" pitchFamily="2" charset="2"/>
        <a:buChar char="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358775" indent="-179388" algn="l" defTabSz="914400" rtl="0" eaLnBrk="1" latinLnBrk="0" hangingPunct="1">
        <a:lnSpc>
          <a:spcPct val="95000"/>
        </a:lnSpc>
        <a:spcBef>
          <a:spcPts val="300"/>
        </a:spcBef>
        <a:buClr>
          <a:schemeClr val="tx2"/>
        </a:buClr>
        <a:buFont typeface="Calibri Light" panose="020F0302020204030204" pitchFamily="34" charset="0"/>
        <a:buChar char="−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536575" indent="-177800" algn="l" defTabSz="914400" rtl="0" eaLnBrk="1" latinLnBrk="0" hangingPunct="1">
        <a:lnSpc>
          <a:spcPct val="95000"/>
        </a:lnSpc>
        <a:spcBef>
          <a:spcPts val="100"/>
        </a:spcBef>
        <a:buClr>
          <a:schemeClr val="tx2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715963" indent="-179388" algn="l" defTabSz="914400" rtl="0" eaLnBrk="1" latinLnBrk="0" hangingPunct="1">
        <a:lnSpc>
          <a:spcPct val="95000"/>
        </a:lnSpc>
        <a:spcBef>
          <a:spcPts val="100"/>
        </a:spcBef>
        <a:buClr>
          <a:schemeClr val="tx2"/>
        </a:buClr>
        <a:buFont typeface="Calibri Light" panose="020F0302020204030204" pitchFamily="34" charset="0"/>
        <a:buChar char="−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0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D97DA8E7-9931-C96B-A97E-8F9ED35FF8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D97DA8E7-9931-C96B-A97E-8F9ED35FF8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Rectangle 61">
            <a:extLst>
              <a:ext uri="{FF2B5EF4-FFF2-40B4-BE49-F238E27FC236}">
                <a16:creationId xmlns:a16="http://schemas.microsoft.com/office/drawing/2014/main" id="{1D8002F5-E725-C316-0157-4607C0F3C217}"/>
              </a:ext>
            </a:extLst>
          </p:cNvPr>
          <p:cNvSpPr/>
          <p:nvPr/>
        </p:nvSpPr>
        <p:spPr>
          <a:xfrm>
            <a:off x="6487256" y="1819575"/>
            <a:ext cx="5181244" cy="30631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2960D00-AFBD-26B0-04C0-747DE3167BED}"/>
              </a:ext>
            </a:extLst>
          </p:cNvPr>
          <p:cNvSpPr/>
          <p:nvPr/>
        </p:nvSpPr>
        <p:spPr>
          <a:xfrm>
            <a:off x="1124553" y="1820540"/>
            <a:ext cx="5181244" cy="30631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236ADC-FF6C-A220-A13A-80635EE31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</p:spPr>
        <p:txBody>
          <a:bodyPr vert="horz"/>
          <a:lstStyle/>
          <a:p>
            <a:r>
              <a:rPr lang="en-US"/>
              <a:t>Modeling revenue </a:t>
            </a:r>
            <a:r>
              <a:rPr lang="en-US" dirty="0"/>
              <a:t>&amp; costs for the Theater &amp; performing </a:t>
            </a:r>
            <a:r>
              <a:rPr lang="en-US"/>
              <a:t>arts 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E46A6B-587D-7E95-E658-AF1DA417D31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24553" y="1954560"/>
            <a:ext cx="5029200" cy="2985575"/>
          </a:xfrm>
        </p:spPr>
        <p:txBody>
          <a:bodyPr/>
          <a:lstStyle/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Sourcing historical data for tickets, capacity, and other related factors 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Sourcing global sector data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Creating a global dataset in Exc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Analyzing historical data to identify trends and patter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Analyzing global sector data to gain insights and identify potential impac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0" i="0" dirty="0">
              <a:solidFill>
                <a:srgbClr val="374151"/>
              </a:solidFill>
              <a:effectLst/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rgbClr val="374151"/>
                </a:solidFill>
                <a:effectLst/>
                <a:latin typeface="+mn-lt"/>
              </a:rPr>
              <a:t>Developing 3 assumption </a:t>
            </a:r>
            <a:r>
              <a:rPr lang="en-US" sz="1200" dirty="0">
                <a:solidFill>
                  <a:srgbClr val="374151"/>
                </a:solidFill>
                <a:latin typeface="+mn-lt"/>
              </a:rPr>
              <a:t>s</a:t>
            </a:r>
            <a:r>
              <a:rPr lang="en-US" sz="1200" b="0" i="0" dirty="0">
                <a:solidFill>
                  <a:srgbClr val="374151"/>
                </a:solidFill>
                <a:effectLst/>
                <a:latin typeface="+mn-lt"/>
              </a:rPr>
              <a:t>cenarios through Analysis of Historical and Global Sector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374151"/>
                </a:solidFill>
                <a:latin typeface="+mn-lt"/>
              </a:rPr>
              <a:t>Modeling</a:t>
            </a:r>
            <a:r>
              <a:rPr lang="en-US" sz="1200" b="0" i="0" dirty="0">
                <a:solidFill>
                  <a:srgbClr val="374151"/>
                </a:solidFill>
                <a:effectLst/>
                <a:latin typeface="+mn-lt"/>
              </a:rPr>
              <a:t> potential revenue with the 3 </a:t>
            </a:r>
            <a:r>
              <a:rPr lang="en-US" sz="1200" dirty="0">
                <a:solidFill>
                  <a:srgbClr val="374151"/>
                </a:solidFill>
                <a:latin typeface="+mn-lt"/>
              </a:rPr>
              <a:t>s</a:t>
            </a:r>
            <a:r>
              <a:rPr lang="en-US" sz="1200" b="0" i="0" dirty="0">
                <a:solidFill>
                  <a:srgbClr val="374151"/>
                </a:solidFill>
                <a:effectLst/>
                <a:latin typeface="+mn-lt"/>
              </a:rPr>
              <a:t>cenarios defined</a:t>
            </a:r>
            <a:endParaRPr lang="en-US" sz="1200" dirty="0"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8696C2-8AF3-2A6A-E19F-E81FCE9B0A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75583" y="1468806"/>
            <a:ext cx="2744645" cy="351734"/>
          </a:xfrm>
        </p:spPr>
        <p:txBody>
          <a:bodyPr/>
          <a:lstStyle/>
          <a:p>
            <a:r>
              <a:rPr lang="en-US" dirty="0"/>
              <a:t>Expected Revenue Modeling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671885E-1D15-5720-1771-B4D5EDD85A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442354" y="1487545"/>
            <a:ext cx="2949968" cy="314256"/>
          </a:xfrm>
        </p:spPr>
        <p:txBody>
          <a:bodyPr/>
          <a:lstStyle/>
          <a:p>
            <a:r>
              <a:rPr lang="en-US" dirty="0"/>
              <a:t>Expected Expenses Modeling </a:t>
            </a:r>
          </a:p>
        </p:txBody>
      </p:sp>
      <p:sp>
        <p:nvSpPr>
          <p:cNvPr id="29" name="Google Shape;1303;p41">
            <a:extLst>
              <a:ext uri="{FF2B5EF4-FFF2-40B4-BE49-F238E27FC236}">
                <a16:creationId xmlns:a16="http://schemas.microsoft.com/office/drawing/2014/main" id="{CDA5CD26-F34E-F823-198C-DA535FECCCC7}"/>
              </a:ext>
            </a:extLst>
          </p:cNvPr>
          <p:cNvSpPr/>
          <p:nvPr/>
        </p:nvSpPr>
        <p:spPr>
          <a:xfrm rot="20541949">
            <a:off x="5526715" y="1910318"/>
            <a:ext cx="640080" cy="305395"/>
          </a:xfrm>
          <a:prstGeom prst="rect">
            <a:avLst/>
          </a:prstGeom>
          <a:noFill/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Business Research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F47F2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34" name="Google Shape;1303;p41">
            <a:extLst>
              <a:ext uri="{FF2B5EF4-FFF2-40B4-BE49-F238E27FC236}">
                <a16:creationId xmlns:a16="http://schemas.microsoft.com/office/drawing/2014/main" id="{15293495-1455-B230-0BB1-887D967CA1B6}"/>
              </a:ext>
            </a:extLst>
          </p:cNvPr>
          <p:cNvSpPr/>
          <p:nvPr/>
        </p:nvSpPr>
        <p:spPr>
          <a:xfrm rot="20541949">
            <a:off x="5526713" y="2241379"/>
            <a:ext cx="640080" cy="305395"/>
          </a:xfrm>
          <a:prstGeom prst="rect">
            <a:avLst/>
          </a:prstGeom>
          <a:noFill/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Business Research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F47F2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B04307-9442-F303-FFFD-4FE606240B4C}"/>
              </a:ext>
            </a:extLst>
          </p:cNvPr>
          <p:cNvSpPr txBox="1">
            <a:spLocks/>
          </p:cNvSpPr>
          <p:nvPr/>
        </p:nvSpPr>
        <p:spPr>
          <a:xfrm>
            <a:off x="6639300" y="1937816"/>
            <a:ext cx="5029200" cy="23247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176213" indent="-176213" algn="l" defTabSz="914400" rtl="0" eaLnBrk="1" latinLnBrk="0" hangingPunct="1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"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358775" indent="-179388" algn="l" defTabSz="914400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536575" indent="-177800" algn="l" defTabSz="914400" rtl="0" eaLnBrk="1" latinLnBrk="0" hangingPunct="1">
              <a:lnSpc>
                <a:spcPct val="95000"/>
              </a:lnSpc>
              <a:spcBef>
                <a:spcPts val="100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715963" indent="-179388" algn="l" defTabSz="914400" rtl="0" eaLnBrk="1" latinLnBrk="0" hangingPunct="1">
              <a:lnSpc>
                <a:spcPct val="95000"/>
              </a:lnSpc>
              <a:spcBef>
                <a:spcPts val="1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defRPr lang="en-IN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Sourcing historical data for budget and expenses to cover capital and operational expens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reating a global dataset in Excel</a:t>
            </a:r>
          </a:p>
          <a:p>
            <a:pPr marL="171450" marR="0" lvl="0" indent="-171450" algn="l" defTabSz="914400" rtl="0" eaLnBrk="1" fontAlgn="auto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Analyzing the historical data for the expenses following the model for the expenses</a:t>
            </a:r>
          </a:p>
          <a:p>
            <a:pPr marL="171450" marR="0" lvl="0" indent="-171450" algn="l" defTabSz="914400" rtl="0" eaLnBrk="1" fontAlgn="auto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74151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74151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D57EA2F-8101-6262-002F-EE85C9FA9CFF}"/>
              </a:ext>
            </a:extLst>
          </p:cNvPr>
          <p:cNvSpPr txBox="1"/>
          <p:nvPr/>
        </p:nvSpPr>
        <p:spPr>
          <a:xfrm>
            <a:off x="6639300" y="3940269"/>
            <a:ext cx="5029200" cy="571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374151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Developing  a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  <a:sym typeface="Arial"/>
              </a:rPr>
              <a:t>model 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  <a:sym typeface="Arial"/>
              </a:rPr>
              <a:t>for 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budgeting and expens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Modeling potential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  <a:sym typeface="Arial"/>
              </a:rPr>
              <a:t>expenses with the model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374151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developed 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48" name="Google Shape;1303;p41">
            <a:extLst>
              <a:ext uri="{FF2B5EF4-FFF2-40B4-BE49-F238E27FC236}">
                <a16:creationId xmlns:a16="http://schemas.microsoft.com/office/drawing/2014/main" id="{FCC34267-D624-3B90-811F-A27BC80E436C}"/>
              </a:ext>
            </a:extLst>
          </p:cNvPr>
          <p:cNvSpPr/>
          <p:nvPr/>
        </p:nvSpPr>
        <p:spPr>
          <a:xfrm rot="20541949">
            <a:off x="10997203" y="1841607"/>
            <a:ext cx="640080" cy="305395"/>
          </a:xfrm>
          <a:prstGeom prst="rect">
            <a:avLst/>
          </a:prstGeom>
          <a:noFill/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Business Research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F47F2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49" name="Google Shape;1303;p41">
            <a:extLst>
              <a:ext uri="{FF2B5EF4-FFF2-40B4-BE49-F238E27FC236}">
                <a16:creationId xmlns:a16="http://schemas.microsoft.com/office/drawing/2014/main" id="{8F81CADF-8589-2E04-BA51-B4A014ECAD00}"/>
              </a:ext>
            </a:extLst>
          </p:cNvPr>
          <p:cNvSpPr/>
          <p:nvPr/>
        </p:nvSpPr>
        <p:spPr>
          <a:xfrm rot="20541949">
            <a:off x="10997201" y="2172668"/>
            <a:ext cx="640080" cy="305395"/>
          </a:xfrm>
          <a:prstGeom prst="rect">
            <a:avLst/>
          </a:prstGeom>
          <a:noFill/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Business Research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F47F2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3C05FDD-94F6-0331-F216-22C643F146A6}"/>
              </a:ext>
            </a:extLst>
          </p:cNvPr>
          <p:cNvSpPr txBox="1"/>
          <p:nvPr/>
        </p:nvSpPr>
        <p:spPr>
          <a:xfrm>
            <a:off x="1124553" y="5845766"/>
            <a:ext cx="10543947" cy="5714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  <a:sym typeface="Arial"/>
              </a:rPr>
              <a:t>Consolidating all models in one Excel sheet for easy access and reference</a:t>
            </a:r>
          </a:p>
          <a:p>
            <a:pPr marL="171450" marR="0" lvl="0" indent="-171450" algn="l" defTabSz="914400" rtl="0" eaLnBrk="1" fontAlgn="auto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  <a:sym typeface="Arial"/>
              </a:rPr>
              <a:t>Documenting the consolidation process for future reference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E2222E8F-D6BF-1550-24BF-AAA721FFD2BA}"/>
              </a:ext>
            </a:extLst>
          </p:cNvPr>
          <p:cNvGrpSpPr/>
          <p:nvPr/>
        </p:nvGrpSpPr>
        <p:grpSpPr>
          <a:xfrm>
            <a:off x="80240" y="2001127"/>
            <a:ext cx="914400" cy="4361190"/>
            <a:chOff x="20865" y="2001127"/>
            <a:chExt cx="914400" cy="4361190"/>
          </a:xfrm>
        </p:grpSpPr>
        <p:sp>
          <p:nvSpPr>
            <p:cNvPr id="26" name="Google Shape;1303;p41">
              <a:extLst>
                <a:ext uri="{FF2B5EF4-FFF2-40B4-BE49-F238E27FC236}">
                  <a16:creationId xmlns:a16="http://schemas.microsoft.com/office/drawing/2014/main" id="{4F05EFCC-41FA-3280-D2C5-4291811E7A9C}"/>
                </a:ext>
              </a:extLst>
            </p:cNvPr>
            <p:cNvSpPr/>
            <p:nvPr/>
          </p:nvSpPr>
          <p:spPr>
            <a:xfrm>
              <a:off x="20865" y="2001127"/>
              <a:ext cx="914400" cy="829535"/>
            </a:xfrm>
            <a:prstGeom prst="rect">
              <a:avLst/>
            </a:prstGeom>
            <a:solidFill>
              <a:schemeClr val="tx2"/>
            </a:solidFill>
            <a:ln w="12700" cap="flat" cmpd="sng">
              <a:solidFill>
                <a:srgbClr val="CCF1F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Calibri"/>
                </a:rPr>
                <a:t>Data Sources</a:t>
              </a: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27" name="Google Shape;1307;p41">
              <a:extLst>
                <a:ext uri="{FF2B5EF4-FFF2-40B4-BE49-F238E27FC236}">
                  <a16:creationId xmlns:a16="http://schemas.microsoft.com/office/drawing/2014/main" id="{991D503E-C3F2-A40E-5861-8F951097C10A}"/>
                </a:ext>
              </a:extLst>
            </p:cNvPr>
            <p:cNvSpPr/>
            <p:nvPr/>
          </p:nvSpPr>
          <p:spPr>
            <a:xfrm>
              <a:off x="20865" y="3042671"/>
              <a:ext cx="914400" cy="579303"/>
            </a:xfrm>
            <a:prstGeom prst="rect">
              <a:avLst/>
            </a:prstGeom>
            <a:solidFill>
              <a:schemeClr val="tx2"/>
            </a:solidFill>
            <a:ln w="12700" cap="flat" cmpd="sng">
              <a:solidFill>
                <a:srgbClr val="CCF1F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Calibri"/>
                </a:rPr>
                <a:t>Explor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Calibri"/>
                </a:rPr>
                <a:t>Visualization</a:t>
              </a: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28" name="Google Shape;1307;p41">
              <a:extLst>
                <a:ext uri="{FF2B5EF4-FFF2-40B4-BE49-F238E27FC236}">
                  <a16:creationId xmlns:a16="http://schemas.microsoft.com/office/drawing/2014/main" id="{E7422C94-306C-F7A7-58E2-DF6E3F3EBF81}"/>
                </a:ext>
              </a:extLst>
            </p:cNvPr>
            <p:cNvSpPr/>
            <p:nvPr/>
          </p:nvSpPr>
          <p:spPr>
            <a:xfrm>
              <a:off x="20865" y="4033045"/>
              <a:ext cx="914400" cy="579303"/>
            </a:xfrm>
            <a:prstGeom prst="rect">
              <a:avLst/>
            </a:prstGeom>
            <a:solidFill>
              <a:schemeClr val="tx2"/>
            </a:solidFill>
            <a:ln w="12700" cap="flat" cmpd="sng">
              <a:solidFill>
                <a:srgbClr val="CCF1F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Calibri"/>
                </a:rPr>
                <a:t>Modeling</a:t>
              </a: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52" name="Google Shape;1307;p41">
              <a:extLst>
                <a:ext uri="{FF2B5EF4-FFF2-40B4-BE49-F238E27FC236}">
                  <a16:creationId xmlns:a16="http://schemas.microsoft.com/office/drawing/2014/main" id="{DEC83018-A25C-D651-1B77-409589B117A0}"/>
                </a:ext>
              </a:extLst>
            </p:cNvPr>
            <p:cNvSpPr/>
            <p:nvPr/>
          </p:nvSpPr>
          <p:spPr>
            <a:xfrm>
              <a:off x="20865" y="5900652"/>
              <a:ext cx="914400" cy="461665"/>
            </a:xfrm>
            <a:prstGeom prst="rect">
              <a:avLst/>
            </a:prstGeom>
            <a:solidFill>
              <a:schemeClr val="tx2"/>
            </a:solidFill>
            <a:ln w="12700" cap="flat" cmpd="sng">
              <a:solidFill>
                <a:srgbClr val="CCF1F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Calibri"/>
                </a:rPr>
                <a:t>Delivery</a:t>
              </a: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57" name="Google Shape;1307;p41">
              <a:extLst>
                <a:ext uri="{FF2B5EF4-FFF2-40B4-BE49-F238E27FC236}">
                  <a16:creationId xmlns:a16="http://schemas.microsoft.com/office/drawing/2014/main" id="{5806D377-1303-F8F1-B78B-7E054331EB61}"/>
                </a:ext>
              </a:extLst>
            </p:cNvPr>
            <p:cNvSpPr/>
            <p:nvPr/>
          </p:nvSpPr>
          <p:spPr>
            <a:xfrm>
              <a:off x="20865" y="5097474"/>
              <a:ext cx="914400" cy="571438"/>
            </a:xfrm>
            <a:prstGeom prst="rect">
              <a:avLst/>
            </a:prstGeom>
            <a:solidFill>
              <a:schemeClr val="tx2"/>
            </a:solidFill>
            <a:ln w="12700" cap="flat" cmpd="sng">
              <a:solidFill>
                <a:srgbClr val="CCF1F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Calibri"/>
                </a:rPr>
                <a:t>Visualization</a:t>
              </a: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CC4693EE-7061-2F58-FECE-0BA74B296A9A}"/>
              </a:ext>
            </a:extLst>
          </p:cNvPr>
          <p:cNvSpPr txBox="1"/>
          <p:nvPr/>
        </p:nvSpPr>
        <p:spPr>
          <a:xfrm>
            <a:off x="1124553" y="5092352"/>
            <a:ext cx="10543947" cy="5714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Extracting core financial metrics to track and monitor performance</a:t>
            </a:r>
          </a:p>
          <a:p>
            <a:pPr marL="171450" marR="0" lvl="0" indent="-171450" algn="l" defTabSz="914400" rtl="0" eaLnBrk="1" fontAlgn="auto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reating scenarios using various financial metrics to evaluate performance and identify areas for improvement</a:t>
            </a:r>
          </a:p>
        </p:txBody>
      </p:sp>
    </p:spTree>
    <p:extLst>
      <p:ext uri="{BB962C8B-B14F-4D97-AF65-F5344CB8AC3E}">
        <p14:creationId xmlns:p14="http://schemas.microsoft.com/office/powerpoint/2010/main" val="14342281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qwcc7DejGViCWBFpFD0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t3g6oHR.eSMeI2wrOH9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lF5.eRNR9rPuGQEZuE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OvDAAg8kg2cvbrebxAj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ISAEtFUhbxIAwICusEz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7v3cWm.ALjPRKJ9nXrH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9IE.7bLxBrULpoO3xS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4LRVt1qo76aFx.vfDh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t0G4uAyuYyTKhWLOjI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H.igiAg4ypsuWHYavcn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p6Cj340VALGJWLymSW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KNl1HuxWDhxLyTiC38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MRpyJXMeKwLC3sJ68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KNl1HuxWDhxLyTiC38B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VjA4ltcgICe3e6_2sKT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3fl1AeGXOX4VVDsMkf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4_2lQ1IrOBXnwywwFfq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263.y13U8EVew42DLdd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io.O3YUYWzoTtrSsmIH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jvsGbONRlHa1tN1XBgZ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0" tIns="0" rIns="0" bIns="0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Infomineo_Template_v1.potm" id="{ABC41400-80B7-47EE-907B-C4F60E8EFE29}" vid="{63900581-71C6-4AFD-B1F1-74BA0CD6F40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EB99F070A47694BA29DA677127D2114" ma:contentTypeVersion="13" ma:contentTypeDescription="Create a new document." ma:contentTypeScope="" ma:versionID="d659af657f7e2ea6b689cf21dd734794">
  <xsd:schema xmlns:xsd="http://www.w3.org/2001/XMLSchema" xmlns:xs="http://www.w3.org/2001/XMLSchema" xmlns:p="http://schemas.microsoft.com/office/2006/metadata/properties" xmlns:ns3="d6af609d-d070-4076-a2d2-d679d8975de3" xmlns:ns4="8f56eb53-d1b7-489e-ab13-08801bbc243a" targetNamespace="http://schemas.microsoft.com/office/2006/metadata/properties" ma:root="true" ma:fieldsID="3992c173ab369a76c453d616e78c3803" ns3:_="" ns4:_="">
    <xsd:import namespace="d6af609d-d070-4076-a2d2-d679d8975de3"/>
    <xsd:import namespace="8f56eb53-d1b7-489e-ab13-08801bbc243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Locatio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af609d-d070-4076-a2d2-d679d8975de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4" nillable="true" ma:displayName="_activity" ma:hidden="true" ma:internalName="_activity">
      <xsd:simpleType>
        <xsd:restriction base="dms:Note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56eb53-d1b7-489e-ab13-08801bbc243a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af609d-d070-4076-a2d2-d679d8975de3" xsi:nil="true"/>
  </documentManagement>
</p:properties>
</file>

<file path=customXml/itemProps1.xml><?xml version="1.0" encoding="utf-8"?>
<ds:datastoreItem xmlns:ds="http://schemas.openxmlformats.org/officeDocument/2006/customXml" ds:itemID="{D09AADC6-4C26-4F4B-94ED-9F41ECA918E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0D50A57-0043-4C46-A233-FD0B7F895E0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af609d-d070-4076-a2d2-d679d8975de3"/>
    <ds:schemaRef ds:uri="8f56eb53-d1b7-489e-ab13-08801bbc243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3F226E0-EA11-4714-851B-A69D3149A820}">
  <ds:schemaRefs>
    <ds:schemaRef ds:uri="http://schemas.openxmlformats.org/package/2006/metadata/core-properties"/>
    <ds:schemaRef ds:uri="http://purl.org/dc/terms/"/>
    <ds:schemaRef ds:uri="http://purl.org/dc/elements/1.1/"/>
    <ds:schemaRef ds:uri="http://purl.org/dc/dcmitype/"/>
    <ds:schemaRef ds:uri="d6af609d-d070-4076-a2d2-d679d8975de3"/>
    <ds:schemaRef ds:uri="http://schemas.microsoft.com/office/infopath/2007/PartnerControls"/>
    <ds:schemaRef ds:uri="http://schemas.microsoft.com/office/2006/documentManagement/types"/>
    <ds:schemaRef ds:uri="8f56eb53-d1b7-489e-ab13-08801bbc243a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1</Words>
  <Application>Microsoft Office PowerPoint</Application>
  <PresentationFormat>Widescreen</PresentationFormat>
  <Paragraphs>3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Calibri</vt:lpstr>
      <vt:lpstr>Calibri Light</vt:lpstr>
      <vt:lpstr>Franklin Gothic</vt:lpstr>
      <vt:lpstr>Franklin Gothic Book</vt:lpstr>
      <vt:lpstr>Franklin Gothic Demi</vt:lpstr>
      <vt:lpstr>Libre Franklin</vt:lpstr>
      <vt:lpstr>Wingdings</vt:lpstr>
      <vt:lpstr>1_Office Theme</vt:lpstr>
      <vt:lpstr>think-cell Slide</vt:lpstr>
      <vt:lpstr>Modeling revenue &amp; costs for the Theater &amp; performing art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eling revenue &amp; costs for the Theater &amp; performing arts </dc:title>
  <dc:creator>Casa 3</dc:creator>
  <cp:lastModifiedBy>Casa 3</cp:lastModifiedBy>
  <cp:revision>1</cp:revision>
  <dcterms:created xsi:type="dcterms:W3CDTF">2023-04-17T12:39:37Z</dcterms:created>
  <dcterms:modified xsi:type="dcterms:W3CDTF">2023-04-17T12:41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EB99F070A47694BA29DA677127D2114</vt:lpwstr>
  </property>
</Properties>
</file>